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"/>
  </p:notesMasterIdLst>
  <p:sldIdLst>
    <p:sldId id="2147379074" r:id="rId5"/>
  </p:sldIdLst>
  <p:sldSz cx="12599988" cy="6223000"/>
  <p:notesSz cx="9144000" cy="6858000"/>
  <p:custDataLst>
    <p:tags r:id="rId7"/>
  </p:custDataLst>
  <p:defaultTextStyle>
    <a:defPPr>
      <a:defRPr lang="de-DE"/>
    </a:defPPr>
    <a:lvl1pPr marL="0" algn="l" defTabSz="851626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1pPr>
    <a:lvl2pPr marL="425813" algn="l" defTabSz="851626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2pPr>
    <a:lvl3pPr marL="851626" algn="l" defTabSz="851626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3pPr>
    <a:lvl4pPr marL="1277440" algn="l" defTabSz="851626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4pPr>
    <a:lvl5pPr marL="1703253" algn="l" defTabSz="851626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5pPr>
    <a:lvl6pPr marL="2129066" algn="l" defTabSz="851626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6pPr>
    <a:lvl7pPr marL="2554879" algn="l" defTabSz="851626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7pPr>
    <a:lvl8pPr marL="2980693" algn="l" defTabSz="851626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8pPr>
    <a:lvl9pPr marL="3406506" algn="l" defTabSz="851626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81" userDrawn="1">
          <p15:clr>
            <a:srgbClr val="A4A3A4"/>
          </p15:clr>
        </p15:guide>
        <p15:guide id="2" pos="7656" userDrawn="1">
          <p15:clr>
            <a:srgbClr val="A4A3A4"/>
          </p15:clr>
        </p15:guide>
        <p15:guide id="4" orient="horz" pos="3567" userDrawn="1">
          <p15:clr>
            <a:srgbClr val="A4A3A4"/>
          </p15:clr>
        </p15:guide>
        <p15:guide id="5" orient="horz" pos="877" userDrawn="1">
          <p15:clr>
            <a:srgbClr val="A4A3A4"/>
          </p15:clr>
        </p15:guide>
        <p15:guide id="6" orient="horz" pos="293" userDrawn="1">
          <p15:clr>
            <a:srgbClr val="A4A3A4"/>
          </p15:clr>
        </p15:guide>
        <p15:guide id="7" pos="3902" userDrawn="1">
          <p15:clr>
            <a:srgbClr val="A4A3A4"/>
          </p15:clr>
        </p15:guide>
        <p15:guide id="8" pos="4041" userDrawn="1">
          <p15:clr>
            <a:srgbClr val="A4A3A4"/>
          </p15:clr>
        </p15:guide>
        <p15:guide id="9" pos="5149" userDrawn="1">
          <p15:clr>
            <a:srgbClr val="A4A3A4"/>
          </p15:clr>
        </p15:guide>
        <p15:guide id="10" pos="5296" userDrawn="1">
          <p15:clr>
            <a:srgbClr val="A4A3A4"/>
          </p15:clr>
        </p15:guide>
        <p15:guide id="11" pos="2788" userDrawn="1">
          <p15:clr>
            <a:srgbClr val="A4A3A4"/>
          </p15:clr>
        </p15:guide>
        <p15:guide id="12" pos="264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ike Schmidt" initials="MS" lastIdx="3" clrIdx="0">
    <p:extLst>
      <p:ext uri="{19B8F6BF-5375-455C-9EA6-DF929625EA0E}">
        <p15:presenceInfo xmlns:p15="http://schemas.microsoft.com/office/powerpoint/2012/main" userId="S::maike.schmidt@strategy-compass.com::b4eb969c-01b2-4915-aef7-794a5e1eccd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2BE2"/>
    <a:srgbClr val="C0C0C0"/>
    <a:srgbClr val="39FF14"/>
    <a:srgbClr val="00FFFF"/>
    <a:srgbClr val="00CED1"/>
    <a:srgbClr val="F2F2F2"/>
    <a:srgbClr val="EBEBEB"/>
    <a:srgbClr val="E6E6E6"/>
    <a:srgbClr val="CCCCCC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9810C2D-2C2F-4581-8AFF-CD78C2D722A2}">
  <a:tblStyle styleId="{09810C2D-2C2F-4581-8AFF-CD78C2D722A2}" styleName="DHL Table No BG">
    <a:tblBg>
      <a:fill>
        <a:noFill/>
      </a:fill>
    </a:tblBg>
    <a:wholeTbl>
      <a:tcTxStyle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8575" cmpd="sng">
              <a:solidFill>
                <a:schemeClr val="accent4"/>
              </a:solidFill>
            </a:ln>
          </a:top>
          <a:bottom>
            <a:ln w="28575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solidFill>
            <a:schemeClr val="bg1"/>
          </a:solidFill>
        </a:fill>
      </a:tcStyle>
    </a:wholeTbl>
    <a:band1H>
      <a:tcStyle>
        <a:tcBdr/>
        <a:fill>
          <a:noFill/>
        </a:fill>
      </a:tcStyle>
    </a:band1H>
    <a:band2H>
      <a:tcStyle>
        <a:tcBdr/>
        <a:fill>
          <a:noFill/>
        </a:fill>
      </a:tcStyle>
    </a:band2H>
    <a:band1V>
      <a:tcStyle>
        <a:tcBdr/>
        <a:fill>
          <a:noFill/>
        </a:fill>
      </a:tcStyle>
    </a:band1V>
    <a:band2V>
      <a:tcStyle>
        <a:tcBdr/>
        <a:fill>
          <a:noFill/>
        </a:fill>
      </a:tcStyle>
    </a:band2V>
    <a:lastCol>
      <a:tcTxStyle/>
      <a:tcStyle>
        <a:tcBdr/>
      </a:tcStyle>
    </a:lastCol>
    <a:firstCol>
      <a:tcStyle>
        <a:tcBdr/>
        <a:fill>
          <a:noFill/>
        </a:fill>
      </a:tcStyle>
    </a:firstCol>
    <a:lastRow>
      <a:tcStyle>
        <a:tcBdr/>
        <a:fill>
          <a:noFill/>
        </a:fill>
      </a:tcStyle>
    </a:lastRow>
    <a:firstRow>
      <a:tcTxStyle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6C8A55F-5544-428C-9B86-97CFDF07063B}" styleName="DHL Table White BG">
    <a:tblBg>
      <a:fill>
        <a:noFill/>
      </a:fill>
    </a:tblBg>
    <a:wholeTbl>
      <a:tcTxStyle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8575" cmpd="sng">
              <a:solidFill>
                <a:schemeClr val="accent4"/>
              </a:solidFill>
            </a:ln>
          </a:top>
          <a:bottom>
            <a:ln w="28575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bg1">
              <a:tint val="100000"/>
            </a:schemeClr>
          </a:solidFill>
        </a:fill>
      </a:tcStyle>
    </a:band1H>
    <a:band2H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band2H>
    <a:band1V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band1V>
    <a:band2V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band2V>
    <a:lastCol>
      <a:tcTxStyle/>
      <a:tcStyle>
        <a:tcBdr/>
      </a:tcStyle>
    </a:lastCol>
    <a:firstCol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firstCol>
    <a:lastRow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lastRow>
    <a:firstRow>
      <a:tcTxStyle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solidFill>
            <a:schemeClr val="bg1">
              <a:lumMod val="20000"/>
              <a:lumOff val="8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779" autoAdjust="0"/>
    <p:restoredTop sz="94660"/>
  </p:normalViewPr>
  <p:slideViewPr>
    <p:cSldViewPr snapToGrid="0" showGuides="1">
      <p:cViewPr varScale="1">
        <p:scale>
          <a:sx n="79" d="100"/>
          <a:sy n="79" d="100"/>
        </p:scale>
        <p:origin x="126" y="120"/>
      </p:cViewPr>
      <p:guideLst>
        <p:guide pos="281"/>
        <p:guide pos="7656"/>
        <p:guide orient="horz" pos="3567"/>
        <p:guide orient="horz" pos="877"/>
        <p:guide orient="horz" pos="293"/>
        <p:guide pos="3902"/>
        <p:guide pos="4041"/>
        <p:guide pos="5149"/>
        <p:guide pos="5296"/>
        <p:guide pos="2788"/>
        <p:guide pos="264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535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enan Fiuja Neves (DHL Supply Chain)" userId="d750e5fa-39e5-4779-b060-afd6c6b4626a" providerId="ADAL" clId="{B36023B9-12C6-439E-B8C8-9FB83FDCA079}"/>
    <pc:docChg chg="custSel delSld modSld">
      <pc:chgData name="Renan Fiuja Neves (DHL Supply Chain)" userId="d750e5fa-39e5-4779-b060-afd6c6b4626a" providerId="ADAL" clId="{B36023B9-12C6-439E-B8C8-9FB83FDCA079}" dt="2024-08-26T11:34:55.017" v="43"/>
      <pc:docMkLst>
        <pc:docMk/>
      </pc:docMkLst>
      <pc:sldChg chg="del">
        <pc:chgData name="Renan Fiuja Neves (DHL Supply Chain)" userId="d750e5fa-39e5-4779-b060-afd6c6b4626a" providerId="ADAL" clId="{B36023B9-12C6-439E-B8C8-9FB83FDCA079}" dt="2024-08-26T11:33:06.729" v="2" actId="47"/>
        <pc:sldMkLst>
          <pc:docMk/>
          <pc:sldMk cId="0" sldId="298"/>
        </pc:sldMkLst>
      </pc:sldChg>
      <pc:sldChg chg="del">
        <pc:chgData name="Renan Fiuja Neves (DHL Supply Chain)" userId="d750e5fa-39e5-4779-b060-afd6c6b4626a" providerId="ADAL" clId="{B36023B9-12C6-439E-B8C8-9FB83FDCA079}" dt="2024-08-26T11:33:12.211" v="10" actId="47"/>
        <pc:sldMkLst>
          <pc:docMk/>
          <pc:sldMk cId="0" sldId="299"/>
        </pc:sldMkLst>
      </pc:sldChg>
      <pc:sldChg chg="del">
        <pc:chgData name="Renan Fiuja Neves (DHL Supply Chain)" userId="d750e5fa-39e5-4779-b060-afd6c6b4626a" providerId="ADAL" clId="{B36023B9-12C6-439E-B8C8-9FB83FDCA079}" dt="2024-08-26T11:33:12.980" v="13" actId="47"/>
        <pc:sldMkLst>
          <pc:docMk/>
          <pc:sldMk cId="0" sldId="300"/>
        </pc:sldMkLst>
      </pc:sldChg>
      <pc:sldChg chg="del">
        <pc:chgData name="Renan Fiuja Neves (DHL Supply Chain)" userId="d750e5fa-39e5-4779-b060-afd6c6b4626a" providerId="ADAL" clId="{B36023B9-12C6-439E-B8C8-9FB83FDCA079}" dt="2024-08-26T11:33:05.169" v="0" actId="47"/>
        <pc:sldMkLst>
          <pc:docMk/>
          <pc:sldMk cId="358171730" sldId="323"/>
        </pc:sldMkLst>
      </pc:sldChg>
      <pc:sldChg chg="del">
        <pc:chgData name="Renan Fiuja Neves (DHL Supply Chain)" userId="d750e5fa-39e5-4779-b060-afd6c6b4626a" providerId="ADAL" clId="{B36023B9-12C6-439E-B8C8-9FB83FDCA079}" dt="2024-08-26T11:33:12.423" v="11" actId="47"/>
        <pc:sldMkLst>
          <pc:docMk/>
          <pc:sldMk cId="0" sldId="326"/>
        </pc:sldMkLst>
      </pc:sldChg>
      <pc:sldChg chg="del">
        <pc:chgData name="Renan Fiuja Neves (DHL Supply Chain)" userId="d750e5fa-39e5-4779-b060-afd6c6b4626a" providerId="ADAL" clId="{B36023B9-12C6-439E-B8C8-9FB83FDCA079}" dt="2024-08-26T11:33:10.767" v="7" actId="47"/>
        <pc:sldMkLst>
          <pc:docMk/>
          <pc:sldMk cId="1772335015" sldId="362"/>
        </pc:sldMkLst>
      </pc:sldChg>
      <pc:sldChg chg="del">
        <pc:chgData name="Renan Fiuja Neves (DHL Supply Chain)" userId="d750e5fa-39e5-4779-b060-afd6c6b4626a" providerId="ADAL" clId="{B36023B9-12C6-439E-B8C8-9FB83FDCA079}" dt="2024-08-26T11:33:11.293" v="8" actId="47"/>
        <pc:sldMkLst>
          <pc:docMk/>
          <pc:sldMk cId="2036413215" sldId="363"/>
        </pc:sldMkLst>
      </pc:sldChg>
      <pc:sldChg chg="del">
        <pc:chgData name="Renan Fiuja Neves (DHL Supply Chain)" userId="d750e5fa-39e5-4779-b060-afd6c6b4626a" providerId="ADAL" clId="{B36023B9-12C6-439E-B8C8-9FB83FDCA079}" dt="2024-08-26T11:33:19.304" v="30" actId="47"/>
        <pc:sldMkLst>
          <pc:docMk/>
          <pc:sldMk cId="327078866" sldId="385"/>
        </pc:sldMkLst>
      </pc:sldChg>
      <pc:sldChg chg="del">
        <pc:chgData name="Renan Fiuja Neves (DHL Supply Chain)" userId="d750e5fa-39e5-4779-b060-afd6c6b4626a" providerId="ADAL" clId="{B36023B9-12C6-439E-B8C8-9FB83FDCA079}" dt="2024-08-26T11:33:20.424" v="31" actId="47"/>
        <pc:sldMkLst>
          <pc:docMk/>
          <pc:sldMk cId="1094681573" sldId="419"/>
        </pc:sldMkLst>
      </pc:sldChg>
      <pc:sldChg chg="del">
        <pc:chgData name="Renan Fiuja Neves (DHL Supply Chain)" userId="d750e5fa-39e5-4779-b060-afd6c6b4626a" providerId="ADAL" clId="{B36023B9-12C6-439E-B8C8-9FB83FDCA079}" dt="2024-08-26T11:33:08.182" v="4" actId="47"/>
        <pc:sldMkLst>
          <pc:docMk/>
          <pc:sldMk cId="2765045668" sldId="425"/>
        </pc:sldMkLst>
      </pc:sldChg>
      <pc:sldChg chg="del">
        <pc:chgData name="Renan Fiuja Neves (DHL Supply Chain)" userId="d750e5fa-39e5-4779-b060-afd6c6b4626a" providerId="ADAL" clId="{B36023B9-12C6-439E-B8C8-9FB83FDCA079}" dt="2024-08-26T11:33:07.360" v="3" actId="47"/>
        <pc:sldMkLst>
          <pc:docMk/>
          <pc:sldMk cId="522156544" sldId="428"/>
        </pc:sldMkLst>
      </pc:sldChg>
      <pc:sldChg chg="del">
        <pc:chgData name="Renan Fiuja Neves (DHL Supply Chain)" userId="d750e5fa-39e5-4779-b060-afd6c6b4626a" providerId="ADAL" clId="{B36023B9-12C6-439E-B8C8-9FB83FDCA079}" dt="2024-08-26T11:33:10.208" v="6" actId="47"/>
        <pc:sldMkLst>
          <pc:docMk/>
          <pc:sldMk cId="1452383042" sldId="429"/>
        </pc:sldMkLst>
      </pc:sldChg>
      <pc:sldChg chg="del">
        <pc:chgData name="Renan Fiuja Neves (DHL Supply Chain)" userId="d750e5fa-39e5-4779-b060-afd6c6b4626a" providerId="ADAL" clId="{B36023B9-12C6-439E-B8C8-9FB83FDCA079}" dt="2024-08-26T11:33:13.182" v="14" actId="47"/>
        <pc:sldMkLst>
          <pc:docMk/>
          <pc:sldMk cId="3162217390" sldId="1220"/>
        </pc:sldMkLst>
      </pc:sldChg>
      <pc:sldChg chg="del">
        <pc:chgData name="Renan Fiuja Neves (DHL Supply Chain)" userId="d750e5fa-39e5-4779-b060-afd6c6b4626a" providerId="ADAL" clId="{B36023B9-12C6-439E-B8C8-9FB83FDCA079}" dt="2024-08-26T11:33:13.390" v="15" actId="47"/>
        <pc:sldMkLst>
          <pc:docMk/>
          <pc:sldMk cId="710330550" sldId="1221"/>
        </pc:sldMkLst>
      </pc:sldChg>
      <pc:sldChg chg="del">
        <pc:chgData name="Renan Fiuja Neves (DHL Supply Chain)" userId="d750e5fa-39e5-4779-b060-afd6c6b4626a" providerId="ADAL" clId="{B36023B9-12C6-439E-B8C8-9FB83FDCA079}" dt="2024-08-26T11:33:16.228" v="16" actId="47"/>
        <pc:sldMkLst>
          <pc:docMk/>
          <pc:sldMk cId="465620669" sldId="1222"/>
        </pc:sldMkLst>
      </pc:sldChg>
      <pc:sldChg chg="del">
        <pc:chgData name="Renan Fiuja Neves (DHL Supply Chain)" userId="d750e5fa-39e5-4779-b060-afd6c6b4626a" providerId="ADAL" clId="{B36023B9-12C6-439E-B8C8-9FB83FDCA079}" dt="2024-08-26T11:33:16.430" v="17" actId="47"/>
        <pc:sldMkLst>
          <pc:docMk/>
          <pc:sldMk cId="2693553215" sldId="1223"/>
        </pc:sldMkLst>
      </pc:sldChg>
      <pc:sldChg chg="del">
        <pc:chgData name="Renan Fiuja Neves (DHL Supply Chain)" userId="d750e5fa-39e5-4779-b060-afd6c6b4626a" providerId="ADAL" clId="{B36023B9-12C6-439E-B8C8-9FB83FDCA079}" dt="2024-08-26T11:33:16.670" v="18" actId="47"/>
        <pc:sldMkLst>
          <pc:docMk/>
          <pc:sldMk cId="3383380006" sldId="1224"/>
        </pc:sldMkLst>
      </pc:sldChg>
      <pc:sldChg chg="del">
        <pc:chgData name="Renan Fiuja Neves (DHL Supply Chain)" userId="d750e5fa-39e5-4779-b060-afd6c6b4626a" providerId="ADAL" clId="{B36023B9-12C6-439E-B8C8-9FB83FDCA079}" dt="2024-08-26T11:33:16.931" v="19" actId="47"/>
        <pc:sldMkLst>
          <pc:docMk/>
          <pc:sldMk cId="2123518261" sldId="1225"/>
        </pc:sldMkLst>
      </pc:sldChg>
      <pc:sldChg chg="del">
        <pc:chgData name="Renan Fiuja Neves (DHL Supply Chain)" userId="d750e5fa-39e5-4779-b060-afd6c6b4626a" providerId="ADAL" clId="{B36023B9-12C6-439E-B8C8-9FB83FDCA079}" dt="2024-08-26T11:33:17.157" v="20" actId="47"/>
        <pc:sldMkLst>
          <pc:docMk/>
          <pc:sldMk cId="1009417138" sldId="1226"/>
        </pc:sldMkLst>
      </pc:sldChg>
      <pc:sldChg chg="del">
        <pc:chgData name="Renan Fiuja Neves (DHL Supply Chain)" userId="d750e5fa-39e5-4779-b060-afd6c6b4626a" providerId="ADAL" clId="{B36023B9-12C6-439E-B8C8-9FB83FDCA079}" dt="2024-08-26T11:33:17.351" v="21" actId="47"/>
        <pc:sldMkLst>
          <pc:docMk/>
          <pc:sldMk cId="1055751634" sldId="1227"/>
        </pc:sldMkLst>
      </pc:sldChg>
      <pc:sldChg chg="del">
        <pc:chgData name="Renan Fiuja Neves (DHL Supply Chain)" userId="d750e5fa-39e5-4779-b060-afd6c6b4626a" providerId="ADAL" clId="{B36023B9-12C6-439E-B8C8-9FB83FDCA079}" dt="2024-08-26T11:33:17.566" v="22" actId="47"/>
        <pc:sldMkLst>
          <pc:docMk/>
          <pc:sldMk cId="1489251027" sldId="1228"/>
        </pc:sldMkLst>
      </pc:sldChg>
      <pc:sldChg chg="del">
        <pc:chgData name="Renan Fiuja Neves (DHL Supply Chain)" userId="d750e5fa-39e5-4779-b060-afd6c6b4626a" providerId="ADAL" clId="{B36023B9-12C6-439E-B8C8-9FB83FDCA079}" dt="2024-08-26T11:33:17.791" v="23" actId="47"/>
        <pc:sldMkLst>
          <pc:docMk/>
          <pc:sldMk cId="2121587741" sldId="1229"/>
        </pc:sldMkLst>
      </pc:sldChg>
      <pc:sldChg chg="del">
        <pc:chgData name="Renan Fiuja Neves (DHL Supply Chain)" userId="d750e5fa-39e5-4779-b060-afd6c6b4626a" providerId="ADAL" clId="{B36023B9-12C6-439E-B8C8-9FB83FDCA079}" dt="2024-08-26T11:33:18.002" v="24" actId="47"/>
        <pc:sldMkLst>
          <pc:docMk/>
          <pc:sldMk cId="3255506436" sldId="1230"/>
        </pc:sldMkLst>
      </pc:sldChg>
      <pc:sldChg chg="del">
        <pc:chgData name="Renan Fiuja Neves (DHL Supply Chain)" userId="d750e5fa-39e5-4779-b060-afd6c6b4626a" providerId="ADAL" clId="{B36023B9-12C6-439E-B8C8-9FB83FDCA079}" dt="2024-08-26T11:33:18.200" v="25" actId="47"/>
        <pc:sldMkLst>
          <pc:docMk/>
          <pc:sldMk cId="4276978989" sldId="1231"/>
        </pc:sldMkLst>
      </pc:sldChg>
      <pc:sldChg chg="del">
        <pc:chgData name="Renan Fiuja Neves (DHL Supply Chain)" userId="d750e5fa-39e5-4779-b060-afd6c6b4626a" providerId="ADAL" clId="{B36023B9-12C6-439E-B8C8-9FB83FDCA079}" dt="2024-08-26T11:33:18.422" v="26" actId="47"/>
        <pc:sldMkLst>
          <pc:docMk/>
          <pc:sldMk cId="2440920883" sldId="1232"/>
        </pc:sldMkLst>
      </pc:sldChg>
      <pc:sldChg chg="del">
        <pc:chgData name="Renan Fiuja Neves (DHL Supply Chain)" userId="d750e5fa-39e5-4779-b060-afd6c6b4626a" providerId="ADAL" clId="{B36023B9-12C6-439E-B8C8-9FB83FDCA079}" dt="2024-08-26T11:33:18.590" v="27" actId="47"/>
        <pc:sldMkLst>
          <pc:docMk/>
          <pc:sldMk cId="3637231926" sldId="1233"/>
        </pc:sldMkLst>
      </pc:sldChg>
      <pc:sldChg chg="del">
        <pc:chgData name="Renan Fiuja Neves (DHL Supply Chain)" userId="d750e5fa-39e5-4779-b060-afd6c6b4626a" providerId="ADAL" clId="{B36023B9-12C6-439E-B8C8-9FB83FDCA079}" dt="2024-08-26T11:33:18.899" v="28" actId="47"/>
        <pc:sldMkLst>
          <pc:docMk/>
          <pc:sldMk cId="3542956262" sldId="1234"/>
        </pc:sldMkLst>
      </pc:sldChg>
      <pc:sldChg chg="del">
        <pc:chgData name="Renan Fiuja Neves (DHL Supply Chain)" userId="d750e5fa-39e5-4779-b060-afd6c6b4626a" providerId="ADAL" clId="{B36023B9-12C6-439E-B8C8-9FB83FDCA079}" dt="2024-08-26T11:33:19.109" v="29" actId="47"/>
        <pc:sldMkLst>
          <pc:docMk/>
          <pc:sldMk cId="82361444" sldId="1235"/>
        </pc:sldMkLst>
      </pc:sldChg>
      <pc:sldChg chg="del">
        <pc:chgData name="Renan Fiuja Neves (DHL Supply Chain)" userId="d750e5fa-39e5-4779-b060-afd6c6b4626a" providerId="ADAL" clId="{B36023B9-12C6-439E-B8C8-9FB83FDCA079}" dt="2024-08-26T11:33:12.676" v="12" actId="47"/>
        <pc:sldMkLst>
          <pc:docMk/>
          <pc:sldMk cId="766628992" sldId="2147379071"/>
        </pc:sldMkLst>
      </pc:sldChg>
      <pc:sldChg chg="del">
        <pc:chgData name="Renan Fiuja Neves (DHL Supply Chain)" userId="d750e5fa-39e5-4779-b060-afd6c6b4626a" providerId="ADAL" clId="{B36023B9-12C6-439E-B8C8-9FB83FDCA079}" dt="2024-08-26T11:33:09.479" v="5" actId="47"/>
        <pc:sldMkLst>
          <pc:docMk/>
          <pc:sldMk cId="2617088113" sldId="2147379072"/>
        </pc:sldMkLst>
      </pc:sldChg>
      <pc:sldChg chg="del">
        <pc:chgData name="Renan Fiuja Neves (DHL Supply Chain)" userId="d750e5fa-39e5-4779-b060-afd6c6b4626a" providerId="ADAL" clId="{B36023B9-12C6-439E-B8C8-9FB83FDCA079}" dt="2024-08-26T11:33:11.702" v="9" actId="47"/>
        <pc:sldMkLst>
          <pc:docMk/>
          <pc:sldMk cId="1378726613" sldId="2147379073"/>
        </pc:sldMkLst>
      </pc:sldChg>
      <pc:sldChg chg="delSp modSp mod">
        <pc:chgData name="Renan Fiuja Neves (DHL Supply Chain)" userId="d750e5fa-39e5-4779-b060-afd6c6b4626a" providerId="ADAL" clId="{B36023B9-12C6-439E-B8C8-9FB83FDCA079}" dt="2024-08-26T11:34:55.017" v="43"/>
        <pc:sldMkLst>
          <pc:docMk/>
          <pc:sldMk cId="1061062225" sldId="2147379074"/>
        </pc:sldMkLst>
        <pc:spChg chg="mod">
          <ac:chgData name="Renan Fiuja Neves (DHL Supply Chain)" userId="d750e5fa-39e5-4779-b060-afd6c6b4626a" providerId="ADAL" clId="{B36023B9-12C6-439E-B8C8-9FB83FDCA079}" dt="2024-08-26T11:34:55.017" v="43"/>
          <ac:spMkLst>
            <pc:docMk/>
            <pc:sldMk cId="1061062225" sldId="2147379074"/>
            <ac:spMk id="5" creationId="{CA0FF4CE-0AFC-48A7-B8FD-7F01B26EAD22}"/>
          </ac:spMkLst>
        </pc:spChg>
        <pc:spChg chg="mod">
          <ac:chgData name="Renan Fiuja Neves (DHL Supply Chain)" userId="d750e5fa-39e5-4779-b060-afd6c6b4626a" providerId="ADAL" clId="{B36023B9-12C6-439E-B8C8-9FB83FDCA079}" dt="2024-08-26T11:33:50.232" v="34" actId="207"/>
          <ac:spMkLst>
            <pc:docMk/>
            <pc:sldMk cId="1061062225" sldId="2147379074"/>
            <ac:spMk id="6" creationId="{9A019A52-91C2-43AD-9C9F-A8FDEF51FB4E}"/>
          </ac:spMkLst>
        </pc:spChg>
        <pc:spChg chg="del">
          <ac:chgData name="Renan Fiuja Neves (DHL Supply Chain)" userId="d750e5fa-39e5-4779-b060-afd6c6b4626a" providerId="ADAL" clId="{B36023B9-12C6-439E-B8C8-9FB83FDCA079}" dt="2024-08-26T11:33:31.056" v="32" actId="478"/>
          <ac:spMkLst>
            <pc:docMk/>
            <pc:sldMk cId="1061062225" sldId="2147379074"/>
            <ac:spMk id="7" creationId="{0AD58AE8-72D3-4A13-83EB-A0AAB2E54D45}"/>
          </ac:spMkLst>
        </pc:spChg>
        <pc:spChg chg="mod">
          <ac:chgData name="Renan Fiuja Neves (DHL Supply Chain)" userId="d750e5fa-39e5-4779-b060-afd6c6b4626a" providerId="ADAL" clId="{B36023B9-12C6-439E-B8C8-9FB83FDCA079}" dt="2024-08-26T11:34:07.759" v="36" actId="207"/>
          <ac:spMkLst>
            <pc:docMk/>
            <pc:sldMk cId="1061062225" sldId="2147379074"/>
            <ac:spMk id="9" creationId="{06B02D86-916C-4FBC-BD47-61B4D6280CE4}"/>
          </ac:spMkLst>
        </pc:spChg>
        <pc:spChg chg="mod">
          <ac:chgData name="Renan Fiuja Neves (DHL Supply Chain)" userId="d750e5fa-39e5-4779-b060-afd6c6b4626a" providerId="ADAL" clId="{B36023B9-12C6-439E-B8C8-9FB83FDCA079}" dt="2024-08-26T11:34:41.358" v="41"/>
          <ac:spMkLst>
            <pc:docMk/>
            <pc:sldMk cId="1061062225" sldId="2147379074"/>
            <ac:spMk id="11" creationId="{767B35F8-574A-4F4C-B5DF-6526A7C5FE1C}"/>
          </ac:spMkLst>
        </pc:spChg>
        <pc:spChg chg="mod">
          <ac:chgData name="Renan Fiuja Neves (DHL Supply Chain)" userId="d750e5fa-39e5-4779-b060-afd6c6b4626a" providerId="ADAL" clId="{B36023B9-12C6-439E-B8C8-9FB83FDCA079}" dt="2024-08-26T11:34:23.893" v="39"/>
          <ac:spMkLst>
            <pc:docMk/>
            <pc:sldMk cId="1061062225" sldId="2147379074"/>
            <ac:spMk id="23" creationId="{72A4E266-7699-4A37-B315-A2D05754D58D}"/>
          </ac:spMkLst>
        </pc:spChg>
      </pc:sldChg>
      <pc:sldChg chg="del">
        <pc:chgData name="Renan Fiuja Neves (DHL Supply Chain)" userId="d750e5fa-39e5-4779-b060-afd6c6b4626a" providerId="ADAL" clId="{B36023B9-12C6-439E-B8C8-9FB83FDCA079}" dt="2024-08-26T11:33:06.004" v="1" actId="47"/>
        <pc:sldMkLst>
          <pc:docMk/>
          <pc:sldMk cId="3792392669" sldId="2147379075"/>
        </pc:sldMkLst>
      </pc:sldChg>
      <pc:sldMasterChg chg="delSldLayout">
        <pc:chgData name="Renan Fiuja Neves (DHL Supply Chain)" userId="d750e5fa-39e5-4779-b060-afd6c6b4626a" providerId="ADAL" clId="{B36023B9-12C6-439E-B8C8-9FB83FDCA079}" dt="2024-08-26T11:33:12.676" v="12" actId="47"/>
        <pc:sldMasterMkLst>
          <pc:docMk/>
          <pc:sldMasterMk cId="138446676" sldId="2147483648"/>
        </pc:sldMasterMkLst>
        <pc:sldLayoutChg chg="del">
          <pc:chgData name="Renan Fiuja Neves (DHL Supply Chain)" userId="d750e5fa-39e5-4779-b060-afd6c6b4626a" providerId="ADAL" clId="{B36023B9-12C6-439E-B8C8-9FB83FDCA079}" dt="2024-08-26T11:33:12.676" v="12" actId="47"/>
          <pc:sldLayoutMkLst>
            <pc:docMk/>
            <pc:sldMasterMk cId="138446676" sldId="2147483648"/>
            <pc:sldLayoutMk cId="2409003060" sldId="2147483673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F5CAE4-CBB0-454E-B6B8-0B6620C2B409}" type="datetimeFigureOut">
              <a:rPr lang="de-DE" smtClean="0"/>
              <a:t>26.08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228850" y="857250"/>
            <a:ext cx="46863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753AD6-CEF2-4FD5-AABC-FCC5FC528AD2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2165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135502" rtl="0" eaLnBrk="1" latinLnBrk="0" hangingPunct="1">
      <a:defRPr sz="1490" kern="1200">
        <a:solidFill>
          <a:schemeClr val="tx1"/>
        </a:solidFill>
        <a:latin typeface="+mn-lt"/>
        <a:ea typeface="+mn-ea"/>
        <a:cs typeface="+mn-cs"/>
      </a:defRPr>
    </a:lvl1pPr>
    <a:lvl2pPr marL="567751" algn="l" defTabSz="1135502" rtl="0" eaLnBrk="1" latinLnBrk="0" hangingPunct="1">
      <a:defRPr sz="1490" kern="1200">
        <a:solidFill>
          <a:schemeClr val="tx1"/>
        </a:solidFill>
        <a:latin typeface="+mn-lt"/>
        <a:ea typeface="+mn-ea"/>
        <a:cs typeface="+mn-cs"/>
      </a:defRPr>
    </a:lvl2pPr>
    <a:lvl3pPr marL="1135502" algn="l" defTabSz="1135502" rtl="0" eaLnBrk="1" latinLnBrk="0" hangingPunct="1">
      <a:defRPr sz="1490" kern="1200">
        <a:solidFill>
          <a:schemeClr val="tx1"/>
        </a:solidFill>
        <a:latin typeface="+mn-lt"/>
        <a:ea typeface="+mn-ea"/>
        <a:cs typeface="+mn-cs"/>
      </a:defRPr>
    </a:lvl3pPr>
    <a:lvl4pPr marL="1703253" algn="l" defTabSz="1135502" rtl="0" eaLnBrk="1" latinLnBrk="0" hangingPunct="1">
      <a:defRPr sz="1490" kern="1200">
        <a:solidFill>
          <a:schemeClr val="tx1"/>
        </a:solidFill>
        <a:latin typeface="+mn-lt"/>
        <a:ea typeface="+mn-ea"/>
        <a:cs typeface="+mn-cs"/>
      </a:defRPr>
    </a:lvl4pPr>
    <a:lvl5pPr marL="2271004" algn="l" defTabSz="1135502" rtl="0" eaLnBrk="1" latinLnBrk="0" hangingPunct="1">
      <a:defRPr sz="1490" kern="1200">
        <a:solidFill>
          <a:schemeClr val="tx1"/>
        </a:solidFill>
        <a:latin typeface="+mn-lt"/>
        <a:ea typeface="+mn-ea"/>
        <a:cs typeface="+mn-cs"/>
      </a:defRPr>
    </a:lvl5pPr>
    <a:lvl6pPr marL="2838755" algn="l" defTabSz="1135502" rtl="0" eaLnBrk="1" latinLnBrk="0" hangingPunct="1">
      <a:defRPr sz="1490" kern="1200">
        <a:solidFill>
          <a:schemeClr val="tx1"/>
        </a:solidFill>
        <a:latin typeface="+mn-lt"/>
        <a:ea typeface="+mn-ea"/>
        <a:cs typeface="+mn-cs"/>
      </a:defRPr>
    </a:lvl6pPr>
    <a:lvl7pPr marL="3406506" algn="l" defTabSz="1135502" rtl="0" eaLnBrk="1" latinLnBrk="0" hangingPunct="1">
      <a:defRPr sz="1490" kern="1200">
        <a:solidFill>
          <a:schemeClr val="tx1"/>
        </a:solidFill>
        <a:latin typeface="+mn-lt"/>
        <a:ea typeface="+mn-ea"/>
        <a:cs typeface="+mn-cs"/>
      </a:defRPr>
    </a:lvl7pPr>
    <a:lvl8pPr marL="3974257" algn="l" defTabSz="1135502" rtl="0" eaLnBrk="1" latinLnBrk="0" hangingPunct="1">
      <a:defRPr sz="1490" kern="1200">
        <a:solidFill>
          <a:schemeClr val="tx1"/>
        </a:solidFill>
        <a:latin typeface="+mn-lt"/>
        <a:ea typeface="+mn-ea"/>
        <a:cs typeface="+mn-cs"/>
      </a:defRPr>
    </a:lvl8pPr>
    <a:lvl9pPr marL="4542008" algn="l" defTabSz="1135502" rtl="0" eaLnBrk="1" latinLnBrk="0" hangingPunct="1">
      <a:defRPr sz="149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full page gradient">
    <p:bg>
      <p:bgPr>
        <a:gradFill flip="none" rotWithShape="1">
          <a:gsLst>
            <a:gs pos="79000">
              <a:srgbClr val="FFDE59"/>
            </a:gs>
            <a:gs pos="30000">
              <a:schemeClr val="accent3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6457" y="2441513"/>
            <a:ext cx="11707074" cy="6088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178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14856" indent="0" algn="ctr">
              <a:buNone/>
              <a:defRPr sz="1815"/>
            </a:lvl2pPr>
            <a:lvl3pPr marL="829711" indent="0" algn="ctr">
              <a:buNone/>
              <a:defRPr sz="1633"/>
            </a:lvl3pPr>
            <a:lvl4pPr marL="1244567" indent="0" algn="ctr">
              <a:buNone/>
              <a:defRPr sz="1452"/>
            </a:lvl4pPr>
            <a:lvl5pPr marL="1659423" indent="0" algn="ctr">
              <a:buNone/>
              <a:defRPr sz="1452"/>
            </a:lvl5pPr>
            <a:lvl6pPr marL="2074279" indent="0" algn="ctr">
              <a:buNone/>
              <a:defRPr sz="1452"/>
            </a:lvl6pPr>
            <a:lvl7pPr marL="2489134" indent="0" algn="ctr">
              <a:buNone/>
              <a:defRPr sz="1452"/>
            </a:lvl7pPr>
            <a:lvl8pPr marL="2903990" indent="0" algn="ctr">
              <a:buNone/>
              <a:defRPr sz="1452"/>
            </a:lvl8pPr>
            <a:lvl9pPr marL="3318846" indent="0" algn="ctr">
              <a:buNone/>
              <a:defRPr sz="1452"/>
            </a:lvl9pPr>
          </a:lstStyle>
          <a:p>
            <a:r>
              <a:rPr lang="en-US" dirty="0"/>
              <a:t>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57" y="628066"/>
            <a:ext cx="11707074" cy="1813451"/>
          </a:xfrm>
        </p:spPr>
        <p:txBody>
          <a:bodyPr/>
          <a:lstStyle>
            <a:lvl1pPr>
              <a:lnSpc>
                <a:spcPct val="90000"/>
              </a:lnSpc>
              <a:defRPr sz="4356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ONE OR TWO LINES,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456" y="3723140"/>
            <a:ext cx="6400205" cy="2383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Business Identifier</a:t>
            </a:r>
          </a:p>
        </p:txBody>
      </p:sp>
      <p:sp>
        <p:nvSpPr>
          <p:cNvPr id="7" name="meta-project">
            <a:extLst>
              <a:ext uri="{FF2B5EF4-FFF2-40B4-BE49-F238E27FC236}">
                <a16:creationId xmlns:a16="http://schemas.microsoft.com/office/drawing/2014/main" id="{8F28B7B0-34F9-4874-994D-5A49D798B3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6456" y="3162756"/>
            <a:ext cx="6400205" cy="4840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Location, ## Month ####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488B340-E554-4794-A214-722515232D4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439895" y="5396672"/>
            <a:ext cx="2018974" cy="470400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2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8735645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58661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49F3C-D71F-48B0-816B-AA2AB6497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4F32AD-3FC7-4091-8554-127642F806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180CEC-C0BC-4F28-99ED-9A7B307FEE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05EC38-B07E-496F-9ED7-8B08225083C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46460" y="1392493"/>
            <a:ext cx="5739788" cy="427159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452"/>
            </a:lvl6pPr>
            <a:lvl7pPr>
              <a:defRPr sz="1452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9D4F118-EC4E-4697-8B94-89026AF38F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413743" y="1392493"/>
            <a:ext cx="5739788" cy="427159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452"/>
            </a:lvl6pPr>
            <a:lvl7pPr>
              <a:defRPr sz="1452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553553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C21F6A-3851-4800-A70C-75B7E973A6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140EB-C614-490E-95CD-A54BE084B7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38679AF-4954-4658-B135-45730398D31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46460" y="1392493"/>
            <a:ext cx="5739788" cy="427159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452"/>
            </a:lvl6pPr>
            <a:lvl7pPr>
              <a:defRPr sz="1452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67FEE81-04E7-45FF-A241-7D07B82E5C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13743" y="1392493"/>
            <a:ext cx="5739788" cy="4271590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 anchor="ctr"/>
          <a:lstStyle>
            <a:lvl1pPr algn="ct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297623A-4EAB-41C4-80D7-12A550C733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69562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 hal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0795CF1-C64E-4F72-B36F-DDAB3E8F255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293120" y="0"/>
            <a:ext cx="5306868" cy="6223000"/>
          </a:xfrm>
          <a:prstGeom prst="rect">
            <a:avLst/>
          </a:prstGeom>
          <a:solidFill>
            <a:srgbClr val="CCCCCC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46459" y="1392493"/>
            <a:ext cx="6400205" cy="427159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452"/>
            </a:lvl6pPr>
            <a:lvl7pPr>
              <a:defRPr sz="1452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762344"/>
              </p:ext>
            </p:extLst>
          </p:nvPr>
        </p:nvGraphicFramePr>
        <p:xfrm>
          <a:off x="2189" y="1925"/>
          <a:ext cx="2189" cy="19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89" y="1925"/>
                        <a:ext cx="2189" cy="19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8750" cy="1920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178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1054BF6-C331-4C2D-949B-82F03B585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57" y="466003"/>
            <a:ext cx="6400206" cy="59761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60418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93120" y="0"/>
            <a:ext cx="5306868" cy="6223000"/>
          </a:xfrm>
          <a:prstGeom prst="rect">
            <a:avLst/>
          </a:prstGeom>
          <a:solidFill>
            <a:srgbClr val="CCCCCC"/>
          </a:soli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452"/>
            </a:lvl6pPr>
            <a:lvl7pPr>
              <a:defRPr sz="1452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endParaRPr lang="en-US" dirty="0"/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6814962"/>
              </p:ext>
            </p:extLst>
          </p:nvPr>
        </p:nvGraphicFramePr>
        <p:xfrm>
          <a:off x="2189" y="1925"/>
          <a:ext cx="2189" cy="19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89" y="1925"/>
                        <a:ext cx="2189" cy="19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8750" cy="1920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178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46459" y="1392493"/>
            <a:ext cx="6400205" cy="427159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452"/>
            </a:lvl6pPr>
            <a:lvl7pPr>
              <a:defRPr sz="1452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D3396788-6EB1-4525-8ED0-B4C10E9CB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57" y="466003"/>
            <a:ext cx="6400206" cy="597619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44229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93120" y="0"/>
            <a:ext cx="5306868" cy="6223000"/>
          </a:xfrm>
          <a:prstGeom prst="rect">
            <a:avLst/>
          </a:prstGeo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</a:gra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452"/>
            </a:lvl6pPr>
            <a:lvl7pPr>
              <a:defRPr sz="1452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B4FDD3-3FA4-45F2-86F1-10A9DA1AAD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273606"/>
              </p:ext>
            </p:extLst>
          </p:nvPr>
        </p:nvGraphicFramePr>
        <p:xfrm>
          <a:off x="2189" y="1925"/>
          <a:ext cx="2189" cy="19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B4FDD3-3FA4-45F2-86F1-10A9DA1AA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89" y="1925"/>
                        <a:ext cx="2189" cy="19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E863B02-413C-4D73-A746-5B2F80C99C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8750" cy="1920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178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46459" y="1392493"/>
            <a:ext cx="6400205" cy="427159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452"/>
            </a:lvl6pPr>
            <a:lvl7pPr>
              <a:defRPr sz="1452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4EF99C30-52BB-420E-9163-1053674891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57" y="466003"/>
            <a:ext cx="6400206" cy="597619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76404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56D0AD-4E79-4BFF-B8B5-BB937AA1C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B27B9E-C404-4AF3-A250-0969317557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88F39-AB4C-43BD-98F0-FD644C145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0685DA-4536-4D1F-9676-24537EC648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46460" y="1392493"/>
            <a:ext cx="5739788" cy="4271590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1D8F016-E9C1-4ED6-8F46-E30AD61338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13742" y="1392493"/>
            <a:ext cx="5739788" cy="4271590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8704355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35D9B1-6310-46E2-8EA7-BFC29B52C65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599988" cy="6223000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5907E47-AED8-4AB8-AA7A-2736D73CFC5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6457" y="1392493"/>
            <a:ext cx="11707074" cy="4268444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452"/>
            </a:lvl6pPr>
            <a:lvl7pPr>
              <a:defRPr sz="1452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CAE12-7456-4DFA-8832-22E05FDD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1FF1B3-6C52-429B-B6E4-B7B0F4F27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48D45-3AD0-4D87-AB1B-0B3F1D9CDB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11333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82AB236-DAFD-49F7-BBC2-7E52C86EE7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599988" cy="6223000"/>
          </a:xfrm>
          <a:prstGeom prst="rect">
            <a:avLst/>
          </a:prstGeom>
          <a:solidFill>
            <a:srgbClr val="333333"/>
          </a:solidFill>
        </p:spPr>
        <p:txBody>
          <a:bodyPr lIns="72000" tIns="72000" rIns="72000" bIns="72000"/>
          <a:lstStyle>
            <a:lvl1pPr marL="0" marR="0" indent="0" algn="r" defTabSz="82971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5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F2E6C-875C-432B-B47A-A9E589B7C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CD9EC0-783C-4E03-8B54-EB815AE37D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64768-AEA5-4631-BC4A-8DB3B9447D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6D239E5-258B-41CA-ABAF-4A71EA5D0B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6457" y="1392493"/>
            <a:ext cx="11707074" cy="42684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marR="0" indent="0" algn="l" defTabSz="82971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5"/>
              </a:spcAft>
              <a:buClrTx/>
              <a:buSzTx/>
              <a:buFont typeface="Arial" panose="020B0604020202020204" pitchFamily="34" charset="0"/>
              <a:buNone/>
              <a:tabLst/>
              <a:defRPr sz="1452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452">
                <a:solidFill>
                  <a:schemeClr val="bg1"/>
                </a:solidFill>
              </a:defRPr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201023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full screen video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DB4843D2-D66C-4483-9BEF-0EA790E357B6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12599988" cy="6223000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 vide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0885550-4E65-4CBF-8046-671CF042C5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8674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293117" y="0"/>
            <a:ext cx="5306868" cy="6228444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6459" y="3338012"/>
            <a:ext cx="6400202" cy="6088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178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14856" indent="0" algn="ctr">
              <a:buNone/>
              <a:defRPr sz="1815"/>
            </a:lvl2pPr>
            <a:lvl3pPr marL="829711" indent="0" algn="ctr">
              <a:buNone/>
              <a:defRPr sz="1633"/>
            </a:lvl3pPr>
            <a:lvl4pPr marL="1244567" indent="0" algn="ctr">
              <a:buNone/>
              <a:defRPr sz="1452"/>
            </a:lvl4pPr>
            <a:lvl5pPr marL="1659423" indent="0" algn="ctr">
              <a:buNone/>
              <a:defRPr sz="1452"/>
            </a:lvl5pPr>
            <a:lvl6pPr marL="2074279" indent="0" algn="ctr">
              <a:buNone/>
              <a:defRPr sz="1452"/>
            </a:lvl6pPr>
            <a:lvl7pPr marL="2489134" indent="0" algn="ctr">
              <a:buNone/>
              <a:defRPr sz="1452"/>
            </a:lvl7pPr>
            <a:lvl8pPr marL="2903990" indent="0" algn="ctr">
              <a:buNone/>
              <a:defRPr sz="1452"/>
            </a:lvl8pPr>
            <a:lvl9pPr marL="3318846" indent="0" algn="ctr">
              <a:buNone/>
              <a:defRPr sz="1452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pt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59" y="1524565"/>
            <a:ext cx="6400202" cy="1813451"/>
          </a:xfrm>
        </p:spPr>
        <p:txBody>
          <a:bodyPr/>
          <a:lstStyle>
            <a:lvl1pPr>
              <a:lnSpc>
                <a:spcPct val="90000"/>
              </a:lnSpc>
              <a:defRPr sz="4356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6456" y="4040178"/>
            <a:ext cx="6400205" cy="4840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456" y="4600562"/>
            <a:ext cx="6400205" cy="2383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Business Identifi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CD20E0-3CDD-4F89-AEC5-C445171BED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9892" y="5396533"/>
            <a:ext cx="2020344" cy="470400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2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3711905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ABAA4C-A627-4F72-ADBD-217F33287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44647" y="2375229"/>
            <a:ext cx="7212181" cy="108600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630"/>
              </a:lnSpc>
              <a:spcAft>
                <a:spcPts val="0"/>
              </a:spcAft>
              <a:defRPr sz="3025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This space is reserved for quotes.</a:t>
            </a:r>
            <a:br>
              <a:rPr lang="en-US" dirty="0"/>
            </a:br>
            <a:r>
              <a:rPr lang="en-US" dirty="0"/>
              <a:t>Delivery Italic, 25 pt.”</a:t>
            </a:r>
          </a:p>
        </p:txBody>
      </p:sp>
    </p:spTree>
    <p:extLst>
      <p:ext uri="{BB962C8B-B14F-4D97-AF65-F5344CB8AC3E}">
        <p14:creationId xmlns:p14="http://schemas.microsoft.com/office/powerpoint/2010/main" val="21059331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439974" y="1796882"/>
            <a:ext cx="4318725" cy="6703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356" b="0" cap="all" baseline="0" noProof="0" dirty="0">
                <a:solidFill>
                  <a:schemeClr val="accent4"/>
                </a:solidFill>
                <a:latin typeface="Delivery Cd Black" panose="020F0906020204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4810315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599988" cy="6228444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3233" y="628066"/>
            <a:ext cx="6617133" cy="5404696"/>
          </a:xfrm>
          <a:prstGeom prst="rect">
            <a:avLst/>
          </a:prstGeo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21" smtClean="0">
                <a:solidFill>
                  <a:schemeClr val="accent3"/>
                </a:solidFill>
              </a:defRPr>
            </a:lvl1pPr>
            <a:lvl2pPr>
              <a:defRPr lang="en-US" sz="1633" smtClean="0">
                <a:solidFill>
                  <a:schemeClr val="lt1"/>
                </a:solidFill>
              </a:defRPr>
            </a:lvl2pPr>
            <a:lvl3pPr>
              <a:defRPr lang="en-US" sz="1633" smtClean="0">
                <a:solidFill>
                  <a:schemeClr val="lt1"/>
                </a:solidFill>
              </a:defRPr>
            </a:lvl3pPr>
            <a:lvl4pPr>
              <a:defRPr lang="en-US" sz="1633" smtClean="0">
                <a:solidFill>
                  <a:schemeClr val="lt1"/>
                </a:solidFill>
              </a:defRPr>
            </a:lvl4pPr>
            <a:lvl5pPr>
              <a:defRPr lang="en-US" sz="1633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6458" y="3338012"/>
            <a:ext cx="6417459" cy="6088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178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14856" indent="0" algn="ctr">
              <a:buNone/>
              <a:defRPr sz="1815"/>
            </a:lvl2pPr>
            <a:lvl3pPr marL="829711" indent="0" algn="ctr">
              <a:buNone/>
              <a:defRPr sz="1633"/>
            </a:lvl3pPr>
            <a:lvl4pPr marL="1244567" indent="0" algn="ctr">
              <a:buNone/>
              <a:defRPr sz="1452"/>
            </a:lvl4pPr>
            <a:lvl5pPr marL="1659423" indent="0" algn="ctr">
              <a:buNone/>
              <a:defRPr sz="1452"/>
            </a:lvl5pPr>
            <a:lvl6pPr marL="2074279" indent="0" algn="ctr">
              <a:buNone/>
              <a:defRPr sz="1452"/>
            </a:lvl6pPr>
            <a:lvl7pPr marL="2489134" indent="0" algn="ctr">
              <a:buNone/>
              <a:defRPr sz="1452"/>
            </a:lvl7pPr>
            <a:lvl8pPr marL="2903990" indent="0" algn="ctr">
              <a:buNone/>
              <a:defRPr sz="1452"/>
            </a:lvl8pPr>
            <a:lvl9pPr marL="3318846" indent="0" algn="ctr">
              <a:buNone/>
              <a:defRPr sz="1452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pt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58" y="1384125"/>
            <a:ext cx="6417458" cy="1953891"/>
          </a:xfrm>
        </p:spPr>
        <p:txBody>
          <a:bodyPr/>
          <a:lstStyle>
            <a:lvl1pPr>
              <a:lnSpc>
                <a:spcPct val="90000"/>
              </a:lnSpc>
              <a:defRPr sz="4356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6457" y="4040178"/>
            <a:ext cx="6417459" cy="4840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457" y="4600562"/>
            <a:ext cx="6417459" cy="2383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Business Identifier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F0A8D55-FD64-41A1-872B-557C443E83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9892" y="5396533"/>
            <a:ext cx="2020344" cy="470400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2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706834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599988" cy="6228444"/>
          </a:xfrm>
          <a:prstGeom prst="rect">
            <a:avLst/>
          </a:prstGeom>
          <a:solidFill>
            <a:srgbClr val="CCCCCC"/>
          </a:solidFill>
        </p:spPr>
        <p:txBody>
          <a:bodyPr/>
          <a:lstStyle/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178A8D6-749B-4493-89EF-9E48AA1E96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3228" y="5191892"/>
            <a:ext cx="11930508" cy="840870"/>
          </a:xfrm>
          <a:prstGeom prst="rect">
            <a:avLst/>
          </a:prstGeo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21" smtClean="0">
                <a:solidFill>
                  <a:schemeClr val="accent3"/>
                </a:solidFill>
              </a:defRPr>
            </a:lvl1pPr>
            <a:lvl2pPr>
              <a:defRPr lang="en-US" sz="1633" smtClean="0">
                <a:solidFill>
                  <a:schemeClr val="lt1"/>
                </a:solidFill>
              </a:defRPr>
            </a:lvl2pPr>
            <a:lvl3pPr>
              <a:defRPr lang="en-US" sz="1633" smtClean="0">
                <a:solidFill>
                  <a:schemeClr val="lt1"/>
                </a:solidFill>
              </a:defRPr>
            </a:lvl3pPr>
            <a:lvl4pPr>
              <a:defRPr lang="en-US" sz="1633" smtClean="0">
                <a:solidFill>
                  <a:schemeClr val="lt1"/>
                </a:solidFill>
              </a:defRPr>
            </a:lvl4pPr>
            <a:lvl5pPr>
              <a:defRPr lang="en-US" sz="1633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6457" y="3316033"/>
            <a:ext cx="11707074" cy="6088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178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14856" indent="0" algn="ctr">
              <a:buNone/>
              <a:defRPr sz="1815"/>
            </a:lvl2pPr>
            <a:lvl3pPr marL="829711" indent="0" algn="ctr">
              <a:buNone/>
              <a:defRPr sz="1633"/>
            </a:lvl3pPr>
            <a:lvl4pPr marL="1244567" indent="0" algn="ctr">
              <a:buNone/>
              <a:defRPr sz="1452"/>
            </a:lvl4pPr>
            <a:lvl5pPr marL="1659423" indent="0" algn="ctr">
              <a:buNone/>
              <a:defRPr sz="1452"/>
            </a:lvl5pPr>
            <a:lvl6pPr marL="2074279" indent="0" algn="ctr">
              <a:buNone/>
              <a:defRPr sz="1452"/>
            </a:lvl6pPr>
            <a:lvl7pPr marL="2489134" indent="0" algn="ctr">
              <a:buNone/>
              <a:defRPr sz="1452"/>
            </a:lvl7pPr>
            <a:lvl8pPr marL="2903990" indent="0" algn="ctr">
              <a:buNone/>
              <a:defRPr sz="1452"/>
            </a:lvl8pPr>
            <a:lvl9pPr marL="3318846" indent="0" algn="ctr">
              <a:buNone/>
              <a:defRPr sz="1452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57" y="1502586"/>
            <a:ext cx="11707074" cy="1813451"/>
          </a:xfrm>
        </p:spPr>
        <p:txBody>
          <a:bodyPr/>
          <a:lstStyle>
            <a:lvl1pPr>
              <a:lnSpc>
                <a:spcPct val="90000"/>
              </a:lnSpc>
              <a:defRPr sz="4356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6456" y="4047814"/>
            <a:ext cx="6400205" cy="4840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456" y="4608198"/>
            <a:ext cx="6400205" cy="2383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Business Identifier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B3BC09E-512B-4D87-AA2B-25F9CC60419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9892" y="5396533"/>
            <a:ext cx="2020344" cy="470400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2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76254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12599988" cy="6228444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21"/>
            </a:lvl1pPr>
          </a:lstStyle>
          <a:p>
            <a:pPr lvl="0"/>
            <a:r>
              <a:rPr lang="en-GB" dirty="0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599988" cy="6228444"/>
          </a:xfrm>
          <a:prstGeom prst="rect">
            <a:avLst/>
          </a:prstGeom>
          <a:solidFill>
            <a:srgbClr val="333333"/>
          </a:solidFill>
        </p:spPr>
        <p:txBody>
          <a:bodyPr lIns="324000" tIns="576000"/>
          <a:lstStyle>
            <a:lvl1pPr>
              <a:defRPr sz="1210" b="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DFF7BB-5301-4F2D-9EE9-581891DB91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3228" y="5191892"/>
            <a:ext cx="11930508" cy="840870"/>
          </a:xfrm>
          <a:prstGeom prst="rect">
            <a:avLst/>
          </a:prstGeo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21" smtClean="0">
                <a:solidFill>
                  <a:schemeClr val="accent3"/>
                </a:solidFill>
              </a:defRPr>
            </a:lvl1pPr>
            <a:lvl2pPr>
              <a:defRPr lang="en-US" sz="1633" smtClean="0">
                <a:solidFill>
                  <a:schemeClr val="lt1"/>
                </a:solidFill>
              </a:defRPr>
            </a:lvl2pPr>
            <a:lvl3pPr>
              <a:defRPr lang="en-US" sz="1633" smtClean="0">
                <a:solidFill>
                  <a:schemeClr val="lt1"/>
                </a:solidFill>
              </a:defRPr>
            </a:lvl3pPr>
            <a:lvl4pPr>
              <a:defRPr lang="en-US" sz="1633" smtClean="0">
                <a:solidFill>
                  <a:schemeClr val="lt1"/>
                </a:solidFill>
              </a:defRPr>
            </a:lvl4pPr>
            <a:lvl5pPr>
              <a:defRPr lang="en-US" sz="1633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6457" y="3316033"/>
            <a:ext cx="11707074" cy="6088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178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414856" indent="0" algn="ctr">
              <a:buNone/>
              <a:defRPr sz="1815"/>
            </a:lvl2pPr>
            <a:lvl3pPr marL="829711" indent="0" algn="ctr">
              <a:buNone/>
              <a:defRPr sz="1633"/>
            </a:lvl3pPr>
            <a:lvl4pPr marL="1244567" indent="0" algn="ctr">
              <a:buNone/>
              <a:defRPr sz="1452"/>
            </a:lvl4pPr>
            <a:lvl5pPr marL="1659423" indent="0" algn="ctr">
              <a:buNone/>
              <a:defRPr sz="1452"/>
            </a:lvl5pPr>
            <a:lvl6pPr marL="2074279" indent="0" algn="ctr">
              <a:buNone/>
              <a:defRPr sz="1452"/>
            </a:lvl6pPr>
            <a:lvl7pPr marL="2489134" indent="0" algn="ctr">
              <a:buNone/>
              <a:defRPr sz="1452"/>
            </a:lvl7pPr>
            <a:lvl8pPr marL="2903990" indent="0" algn="ctr">
              <a:buNone/>
              <a:defRPr sz="1452"/>
            </a:lvl8pPr>
            <a:lvl9pPr marL="3318846" indent="0" algn="ctr">
              <a:buNone/>
              <a:defRPr sz="1452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57" y="1502586"/>
            <a:ext cx="11707074" cy="1813451"/>
          </a:xfrm>
        </p:spPr>
        <p:txBody>
          <a:bodyPr/>
          <a:lstStyle>
            <a:lvl1pPr>
              <a:lnSpc>
                <a:spcPct val="90000"/>
              </a:lnSpc>
              <a:defRPr sz="4356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6456" y="4047814"/>
            <a:ext cx="6400205" cy="4840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456" y="4608198"/>
            <a:ext cx="6400205" cy="2383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Business Identifier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7DE68E4-9937-471B-B822-5E6C006D61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9892" y="5396533"/>
            <a:ext cx="2020344" cy="470400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2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7768750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6457" y="2441513"/>
            <a:ext cx="11707074" cy="6088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178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14856" indent="0" algn="ctr">
              <a:buNone/>
              <a:defRPr sz="1815"/>
            </a:lvl2pPr>
            <a:lvl3pPr marL="829711" indent="0" algn="ctr">
              <a:buNone/>
              <a:defRPr sz="1633"/>
            </a:lvl3pPr>
            <a:lvl4pPr marL="1244567" indent="0" algn="ctr">
              <a:buNone/>
              <a:defRPr sz="1452"/>
            </a:lvl4pPr>
            <a:lvl5pPr marL="1659423" indent="0" algn="ctr">
              <a:buNone/>
              <a:defRPr sz="1452"/>
            </a:lvl5pPr>
            <a:lvl6pPr marL="2074279" indent="0" algn="ctr">
              <a:buNone/>
              <a:defRPr sz="1452"/>
            </a:lvl6pPr>
            <a:lvl7pPr marL="2489134" indent="0" algn="ctr">
              <a:buNone/>
              <a:defRPr sz="1452"/>
            </a:lvl7pPr>
            <a:lvl8pPr marL="2903990" indent="0" algn="ctr">
              <a:buNone/>
              <a:defRPr sz="1452"/>
            </a:lvl8pPr>
            <a:lvl9pPr marL="3318846" indent="0" algn="ctr">
              <a:buNone/>
              <a:defRPr sz="1452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57" y="628066"/>
            <a:ext cx="11707074" cy="1813451"/>
          </a:xfrm>
        </p:spPr>
        <p:txBody>
          <a:bodyPr/>
          <a:lstStyle>
            <a:lvl1pPr>
              <a:lnSpc>
                <a:spcPct val="90000"/>
              </a:lnSpc>
              <a:defRPr sz="4356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ection divider with Gradient,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134C61-AE90-4876-9405-4282167F38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D195B8-0DD2-4278-B191-4D18AA251F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5967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6459" y="3338012"/>
            <a:ext cx="6400202" cy="6088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178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14856" indent="0" algn="ctr">
              <a:buNone/>
              <a:defRPr sz="1815"/>
            </a:lvl2pPr>
            <a:lvl3pPr marL="829711" indent="0" algn="ctr">
              <a:buNone/>
              <a:defRPr sz="1633"/>
            </a:lvl3pPr>
            <a:lvl4pPr marL="1244567" indent="0" algn="ctr">
              <a:buNone/>
              <a:defRPr sz="1452"/>
            </a:lvl4pPr>
            <a:lvl5pPr marL="1659423" indent="0" algn="ctr">
              <a:buNone/>
              <a:defRPr sz="1452"/>
            </a:lvl5pPr>
            <a:lvl6pPr marL="2074279" indent="0" algn="ctr">
              <a:buNone/>
              <a:defRPr sz="1452"/>
            </a:lvl6pPr>
            <a:lvl7pPr marL="2489134" indent="0" algn="ctr">
              <a:buNone/>
              <a:defRPr sz="1452"/>
            </a:lvl7pPr>
            <a:lvl8pPr marL="2903990" indent="0" algn="ctr">
              <a:buNone/>
              <a:defRPr sz="1452"/>
            </a:lvl8pPr>
            <a:lvl9pPr marL="3318846" indent="0" algn="ctr">
              <a:buNone/>
              <a:defRPr sz="1452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pt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59" y="1524565"/>
            <a:ext cx="6400202" cy="1813451"/>
          </a:xfrm>
        </p:spPr>
        <p:txBody>
          <a:bodyPr/>
          <a:lstStyle>
            <a:lvl1pPr>
              <a:lnSpc>
                <a:spcPct val="90000"/>
              </a:lnSpc>
              <a:defRPr sz="4356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ection divider </a:t>
            </a:r>
            <a:br>
              <a:rPr lang="en-US" dirty="0"/>
            </a:br>
            <a:r>
              <a:rPr lang="en-US" dirty="0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293120" y="0"/>
            <a:ext cx="5306870" cy="6228444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55C8B4-1569-420F-94F8-0A45D58CC3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E2F84-6B48-4F57-8783-342F789CB3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7136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3ED683-F9E2-432B-9EE5-F787159B7C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0C2FE-3516-4404-9D7F-3E6C342436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6250" y="1392493"/>
            <a:ext cx="3751560" cy="4271590"/>
          </a:xfrm>
          <a:prstGeom prst="rect">
            <a:avLst/>
          </a:prstGeom>
        </p:spPr>
        <p:txBody>
          <a:bodyPr/>
          <a:lstStyle>
            <a:lvl1pPr marL="304881" indent="-304881">
              <a:spcBef>
                <a:spcPts val="1694"/>
              </a:spcBef>
              <a:spcAft>
                <a:spcPts val="0"/>
              </a:spcAft>
              <a:buAutoNum type="arabicPlain"/>
              <a:defRPr b="1"/>
            </a:lvl1pPr>
            <a:lvl2pPr marL="304881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 dirty="0"/>
              <a:t>Sample section, Delivery Bold, </a:t>
            </a:r>
            <a:br>
              <a:rPr lang="en-US" dirty="0"/>
            </a:br>
            <a:r>
              <a:rPr lang="en-US" dirty="0"/>
              <a:t>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ample text, Delivery, 12 </a:t>
            </a:r>
            <a:r>
              <a:rPr lang="en-US" dirty="0" err="1"/>
              <a:t>pt</a:t>
            </a:r>
            <a:endParaRPr lang="en-US" dirty="0"/>
          </a:p>
          <a:p>
            <a:pPr lvl="0"/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0937" y="1392493"/>
            <a:ext cx="3751561" cy="4271590"/>
          </a:xfrm>
          <a:prstGeom prst="rect">
            <a:avLst/>
          </a:prstGeom>
        </p:spPr>
        <p:txBody>
          <a:bodyPr/>
          <a:lstStyle>
            <a:lvl1pPr marL="304881" indent="-304881">
              <a:spcBef>
                <a:spcPts val="1694"/>
              </a:spcBef>
              <a:spcAft>
                <a:spcPts val="0"/>
              </a:spcAft>
              <a:buAutoNum type="arabicPlain" startAt="7"/>
              <a:defRPr b="1"/>
            </a:lvl1pPr>
            <a:lvl2pPr marL="304881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 dirty="0"/>
              <a:t>Sample section, Delivery Bold, </a:t>
            </a:r>
            <a:br>
              <a:rPr lang="en-US" dirty="0"/>
            </a:br>
            <a:r>
              <a:rPr lang="en-US" dirty="0"/>
              <a:t>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ample text, Delivery, 12 </a:t>
            </a:r>
            <a:r>
              <a:rPr lang="en-US" dirty="0" err="1"/>
              <a:t>pt</a:t>
            </a:r>
            <a:endParaRPr lang="en-US" dirty="0"/>
          </a:p>
          <a:p>
            <a:pPr lvl="0"/>
            <a:endParaRPr lang="en-US" dirty="0"/>
          </a:p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83370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27EF1F-9ACF-48EE-A949-EAF1464539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8F358-6501-48B8-80CA-E7836E5B98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46457" y="1392493"/>
            <a:ext cx="11707074" cy="4268444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452"/>
            </a:lvl6pPr>
            <a:lvl7pPr>
              <a:defRPr sz="1452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sz="1452" dirty="0"/>
              <a:t>Bullet number, Delivery, 12 </a:t>
            </a:r>
            <a:r>
              <a:rPr lang="en-US" sz="1452" dirty="0" err="1"/>
              <a:t>pt</a:t>
            </a:r>
            <a:r>
              <a:rPr lang="en-US" sz="1452" dirty="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3149997" y="2092134"/>
            <a:ext cx="6299994" cy="404406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rPr lang="en-US" sz="2028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704087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6F41A71-36A4-406E-A6B5-F05E0BAEC643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090410738"/>
              </p:ext>
            </p:extLst>
          </p:nvPr>
        </p:nvGraphicFramePr>
        <p:xfrm>
          <a:off x="2189" y="1925"/>
          <a:ext cx="2189" cy="19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359" imgH="360" progId="TCLayout.ActiveDocument.1">
                  <p:embed/>
                </p:oleObj>
              </mc:Choice>
              <mc:Fallback>
                <p:oleObj name="think-cell Folie" r:id="rId24" imgW="359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6F41A71-36A4-406E-A6B5-F05E0BAEC6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89" y="1925"/>
                        <a:ext cx="2189" cy="19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A856C2E-8F2D-41A0-AE6C-F0526A45A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6456" y="5812230"/>
            <a:ext cx="11185564" cy="16756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89">
                <a:solidFill>
                  <a:schemeClr val="tx1"/>
                </a:solidFill>
              </a:defRPr>
            </a:lvl1pPr>
          </a:lstStyle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9B7831-1594-4A3A-AB85-33FDCF3EA9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2022" y="5812230"/>
            <a:ext cx="521513" cy="16756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89">
                <a:solidFill>
                  <a:schemeClr val="tx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457" y="466003"/>
            <a:ext cx="11707074" cy="59761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9E6E2BE-5129-498F-887C-F1EC5EFAD1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251" y="1392493"/>
            <a:ext cx="11707488" cy="42715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Body </a:t>
            </a:r>
            <a:r>
              <a:rPr lang="de-DE" dirty="0" err="1"/>
              <a:t>text</a:t>
            </a:r>
            <a:r>
              <a:rPr lang="de-DE" dirty="0"/>
              <a:t> in </a:t>
            </a:r>
            <a:r>
              <a:rPr lang="de-DE" dirty="0" err="1"/>
              <a:t>Delivery</a:t>
            </a:r>
            <a:r>
              <a:rPr lang="de-DE" dirty="0"/>
              <a:t>, 1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Bullet </a:t>
            </a:r>
            <a:r>
              <a:rPr lang="de-DE" dirty="0" err="1"/>
              <a:t>text</a:t>
            </a:r>
            <a:r>
              <a:rPr lang="de-DE" dirty="0"/>
              <a:t>, </a:t>
            </a:r>
            <a:r>
              <a:rPr lang="de-DE" dirty="0" err="1"/>
              <a:t>Delivery</a:t>
            </a:r>
            <a:r>
              <a:rPr lang="de-DE" dirty="0"/>
              <a:t>, 12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Bullet </a:t>
            </a:r>
            <a:r>
              <a:rPr lang="de-DE" dirty="0" err="1"/>
              <a:t>text</a:t>
            </a:r>
            <a:r>
              <a:rPr lang="de-DE" dirty="0"/>
              <a:t>, </a:t>
            </a:r>
            <a:r>
              <a:rPr lang="de-DE" dirty="0" err="1"/>
              <a:t>Delivery</a:t>
            </a:r>
            <a:r>
              <a:rPr lang="de-DE" dirty="0"/>
              <a:t>, 1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Bullet </a:t>
            </a:r>
            <a:r>
              <a:rPr lang="de-DE" dirty="0" err="1"/>
              <a:t>text</a:t>
            </a:r>
            <a:r>
              <a:rPr lang="de-DE" dirty="0"/>
              <a:t>, </a:t>
            </a:r>
            <a:r>
              <a:rPr lang="de-DE" dirty="0" err="1"/>
              <a:t>Delivery</a:t>
            </a:r>
            <a:r>
              <a:rPr lang="de-DE" dirty="0"/>
              <a:t>, 12</a:t>
            </a:r>
          </a:p>
          <a:p>
            <a:pPr lvl="4"/>
            <a:r>
              <a:rPr lang="de-DE" dirty="0"/>
              <a:t>Action title, </a:t>
            </a:r>
            <a:r>
              <a:rPr lang="de-DE" dirty="0" err="1"/>
              <a:t>Delivery</a:t>
            </a:r>
            <a:r>
              <a:rPr lang="de-DE" dirty="0"/>
              <a:t> Regular, 15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Paragraph Headline, </a:t>
            </a:r>
            <a:r>
              <a:rPr lang="de-DE" dirty="0" err="1"/>
              <a:t>DeliveryBold</a:t>
            </a:r>
            <a:r>
              <a:rPr lang="de-DE" dirty="0"/>
              <a:t>, 12 </a:t>
            </a:r>
            <a:r>
              <a:rPr lang="de-DE" dirty="0" err="1"/>
              <a:t>pt</a:t>
            </a:r>
            <a:endParaRPr lang="de-DE" dirty="0"/>
          </a:p>
          <a:p>
            <a:pPr lvl="6"/>
            <a:r>
              <a:rPr lang="de-DE" dirty="0"/>
              <a:t>Bullet </a:t>
            </a:r>
            <a:r>
              <a:rPr lang="de-DE" dirty="0" err="1"/>
              <a:t>number</a:t>
            </a:r>
            <a:r>
              <a:rPr lang="de-DE" dirty="0"/>
              <a:t>, </a:t>
            </a:r>
            <a:r>
              <a:rPr lang="de-DE" dirty="0" err="1"/>
              <a:t>Delivery</a:t>
            </a:r>
            <a:r>
              <a:rPr lang="de-DE" dirty="0"/>
              <a:t>, 1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A979648E-D60F-A5DF-21B5-75EA350D60AA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87502" y="76830"/>
            <a:ext cx="1542187" cy="186205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pt-BR" sz="1210">
                <a:solidFill>
                  <a:srgbClr val="747474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138446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69" r:id="rId5"/>
    <p:sldLayoutId id="2147483653" r:id="rId6"/>
    <p:sldLayoutId id="2147483654" r:id="rId7"/>
    <p:sldLayoutId id="2147483666" r:id="rId8"/>
    <p:sldLayoutId id="2147483655" r:id="rId9"/>
    <p:sldLayoutId id="2147483656" r:id="rId10"/>
    <p:sldLayoutId id="2147483657" r:id="rId11"/>
    <p:sldLayoutId id="2147483658" r:id="rId12"/>
    <p:sldLayoutId id="2147483670" r:id="rId13"/>
    <p:sldLayoutId id="2147483671" r:id="rId14"/>
    <p:sldLayoutId id="2147483672" r:id="rId15"/>
    <p:sldLayoutId id="2147483661" r:id="rId16"/>
    <p:sldLayoutId id="2147483662" r:id="rId17"/>
    <p:sldLayoutId id="2147483663" r:id="rId18"/>
    <p:sldLayoutId id="2147483668" r:id="rId19"/>
    <p:sldLayoutId id="2147483664" r:id="rId20"/>
    <p:sldLayoutId id="2147483665" r:id="rId21"/>
  </p:sldLayoutIdLst>
  <p:hf hdr="0" dt="0"/>
  <p:txStyles>
    <p:titleStyle>
      <a:lvl1pPr algn="l" defTabSz="829711" rtl="0" eaLnBrk="1" latinLnBrk="0" hangingPunct="1">
        <a:lnSpc>
          <a:spcPct val="100000"/>
        </a:lnSpc>
        <a:spcBef>
          <a:spcPct val="0"/>
        </a:spcBef>
        <a:buNone/>
        <a:defRPr sz="2178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829711" rtl="0" eaLnBrk="1" latinLnBrk="0" hangingPunct="1">
        <a:lnSpc>
          <a:spcPct val="110000"/>
        </a:lnSpc>
        <a:spcBef>
          <a:spcPts val="0"/>
        </a:spcBef>
        <a:spcAft>
          <a:spcPts val="605"/>
        </a:spcAft>
        <a:buFont typeface="Arial" panose="020B0604020202020204" pitchFamily="34" charset="0"/>
        <a:buNone/>
        <a:defRPr sz="1452" kern="1200">
          <a:solidFill>
            <a:schemeClr val="tx1"/>
          </a:solidFill>
          <a:latin typeface="+mn-lt"/>
          <a:ea typeface="+mn-ea"/>
          <a:cs typeface="+mn-cs"/>
        </a:defRPr>
      </a:lvl1pPr>
      <a:lvl2pPr marL="217772" indent="-217772" algn="l" defTabSz="829711" rtl="0" eaLnBrk="1" latinLnBrk="0" hangingPunct="1">
        <a:lnSpc>
          <a:spcPct val="110000"/>
        </a:lnSpc>
        <a:spcBef>
          <a:spcPts val="0"/>
        </a:spcBef>
        <a:spcAft>
          <a:spcPts val="605"/>
        </a:spcAft>
        <a:buClr>
          <a:schemeClr val="accent4"/>
        </a:buClr>
        <a:buFont typeface="Arial" panose="020B0604020202020204" pitchFamily="34" charset="0"/>
        <a:buChar char="•"/>
        <a:defRPr sz="1452" kern="1200">
          <a:solidFill>
            <a:schemeClr val="tx1"/>
          </a:solidFill>
          <a:latin typeface="+mn-lt"/>
          <a:ea typeface="+mn-ea"/>
          <a:cs typeface="+mn-cs"/>
        </a:defRPr>
      </a:lvl2pPr>
      <a:lvl3pPr marL="435544" indent="-217772" algn="l" defTabSz="829711" rtl="0" eaLnBrk="1" latinLnBrk="0" hangingPunct="1">
        <a:lnSpc>
          <a:spcPct val="110000"/>
        </a:lnSpc>
        <a:spcBef>
          <a:spcPts val="0"/>
        </a:spcBef>
        <a:spcAft>
          <a:spcPts val="605"/>
        </a:spcAft>
        <a:buClr>
          <a:schemeClr val="accent4"/>
        </a:buClr>
        <a:buFont typeface="Symbol" panose="05050102010706020507" pitchFamily="18" charset="2"/>
        <a:buChar char="-"/>
        <a:defRPr sz="1452" kern="1200">
          <a:solidFill>
            <a:schemeClr val="tx1"/>
          </a:solidFill>
          <a:latin typeface="+mn-lt"/>
          <a:ea typeface="+mn-ea"/>
          <a:cs typeface="+mn-cs"/>
        </a:defRPr>
      </a:lvl3pPr>
      <a:lvl4pPr marL="653316" indent="-217772" algn="l" defTabSz="829711" rtl="0" eaLnBrk="1" latinLnBrk="0" hangingPunct="1">
        <a:lnSpc>
          <a:spcPct val="110000"/>
        </a:lnSpc>
        <a:spcBef>
          <a:spcPts val="0"/>
        </a:spcBef>
        <a:spcAft>
          <a:spcPts val="605"/>
        </a:spcAft>
        <a:buClr>
          <a:schemeClr val="accent4"/>
        </a:buClr>
        <a:buFont typeface="Symbol" panose="05050102010706020507" pitchFamily="18" charset="2"/>
        <a:buChar char="-"/>
        <a:defRPr sz="1452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29711" rtl="0" eaLnBrk="1" latinLnBrk="0" hangingPunct="1">
        <a:lnSpc>
          <a:spcPct val="110000"/>
        </a:lnSpc>
        <a:spcBef>
          <a:spcPts val="0"/>
        </a:spcBef>
        <a:spcAft>
          <a:spcPts val="605"/>
        </a:spcAft>
        <a:buFont typeface="Arial" panose="020B0604020202020204" pitchFamily="34" charset="0"/>
        <a:buNone/>
        <a:defRPr sz="1815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29711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452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217772" indent="-217772" algn="l" defTabSz="829711" rtl="0" eaLnBrk="1" latinLnBrk="0" hangingPunct="1">
        <a:lnSpc>
          <a:spcPct val="110000"/>
        </a:lnSpc>
        <a:spcBef>
          <a:spcPts val="0"/>
        </a:spcBef>
        <a:spcAft>
          <a:spcPts val="605"/>
        </a:spcAft>
        <a:buClr>
          <a:schemeClr val="accent4"/>
        </a:buClr>
        <a:buFont typeface="+mj-lt"/>
        <a:buAutoNum type="arabicPeriod"/>
        <a:defRPr sz="1452" kern="1200">
          <a:solidFill>
            <a:schemeClr val="tx1"/>
          </a:solidFill>
          <a:latin typeface="+mn-lt"/>
          <a:ea typeface="+mn-ea"/>
          <a:cs typeface="+mn-cs"/>
        </a:defRPr>
      </a:lvl7pPr>
      <a:lvl8pPr marL="3111418" indent="-207428" algn="l" defTabSz="829711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526274" indent="-207428" algn="l" defTabSz="829711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829711" rtl="0" eaLnBrk="1" latinLnBrk="0" hangingPunct="1">
        <a:lnSpc>
          <a:spcPct val="110000"/>
        </a:lnSpc>
        <a:spcBef>
          <a:spcPts val="0"/>
        </a:spcBef>
        <a:spcAft>
          <a:spcPts val="605"/>
        </a:spcAft>
        <a:buFont typeface="Arial" panose="020B0604020202020204" pitchFamily="34" charset="0"/>
        <a:buNone/>
        <a:defRPr sz="1452" kern="1200">
          <a:solidFill>
            <a:schemeClr val="tx1"/>
          </a:solidFill>
          <a:latin typeface="+mn-lt"/>
          <a:ea typeface="+mn-ea"/>
          <a:cs typeface="+mn-cs"/>
        </a:defRPr>
      </a:lvl1pPr>
      <a:lvl2pPr marL="217772" indent="-217772" algn="l" defTabSz="829711" rtl="0" eaLnBrk="1" latinLnBrk="0" hangingPunct="1">
        <a:lnSpc>
          <a:spcPct val="110000"/>
        </a:lnSpc>
        <a:spcBef>
          <a:spcPts val="0"/>
        </a:spcBef>
        <a:spcAft>
          <a:spcPts val="605"/>
        </a:spcAft>
        <a:buClr>
          <a:schemeClr val="accent4"/>
        </a:buClr>
        <a:buFont typeface="Arial" panose="020B0604020202020204" pitchFamily="34" charset="0"/>
        <a:buChar char="•"/>
        <a:defRPr sz="1452" kern="1200">
          <a:solidFill>
            <a:schemeClr val="tx1"/>
          </a:solidFill>
          <a:latin typeface="+mn-lt"/>
          <a:ea typeface="+mn-ea"/>
          <a:cs typeface="+mn-cs"/>
        </a:defRPr>
      </a:lvl2pPr>
      <a:lvl3pPr marL="435544" indent="-217772" algn="l" defTabSz="829711" rtl="0" eaLnBrk="1" latinLnBrk="0" hangingPunct="1">
        <a:lnSpc>
          <a:spcPct val="110000"/>
        </a:lnSpc>
        <a:spcBef>
          <a:spcPts val="0"/>
        </a:spcBef>
        <a:spcAft>
          <a:spcPts val="605"/>
        </a:spcAft>
        <a:buClr>
          <a:schemeClr val="accent4"/>
        </a:buClr>
        <a:buFont typeface="Symbol" panose="05050102010706020507" pitchFamily="18" charset="2"/>
        <a:buChar char="-"/>
        <a:defRPr sz="1452" kern="1200">
          <a:solidFill>
            <a:schemeClr val="tx1"/>
          </a:solidFill>
          <a:latin typeface="+mn-lt"/>
          <a:ea typeface="+mn-ea"/>
          <a:cs typeface="+mn-cs"/>
        </a:defRPr>
      </a:lvl3pPr>
      <a:lvl4pPr marL="653316" indent="-217772" algn="l" defTabSz="829711" rtl="0" eaLnBrk="1" latinLnBrk="0" hangingPunct="1">
        <a:lnSpc>
          <a:spcPct val="110000"/>
        </a:lnSpc>
        <a:spcBef>
          <a:spcPts val="0"/>
        </a:spcBef>
        <a:spcAft>
          <a:spcPts val="605"/>
        </a:spcAft>
        <a:buClr>
          <a:schemeClr val="accent4"/>
        </a:buClr>
        <a:buFont typeface="Symbol" panose="05050102010706020507" pitchFamily="18" charset="2"/>
        <a:buChar char="-"/>
        <a:defRPr sz="1452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29711" rtl="0" eaLnBrk="1" latinLnBrk="0" hangingPunct="1">
        <a:lnSpc>
          <a:spcPct val="110000"/>
        </a:lnSpc>
        <a:spcBef>
          <a:spcPts val="0"/>
        </a:spcBef>
        <a:spcAft>
          <a:spcPts val="605"/>
        </a:spcAft>
        <a:buFont typeface="Arial" panose="020B0604020202020204" pitchFamily="34" charset="0"/>
        <a:buNone/>
        <a:defRPr sz="1815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29711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452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217772" indent="-217772" algn="l" defTabSz="829711" rtl="0" eaLnBrk="1" latinLnBrk="0" hangingPunct="1">
        <a:lnSpc>
          <a:spcPct val="110000"/>
        </a:lnSpc>
        <a:spcBef>
          <a:spcPts val="0"/>
        </a:spcBef>
        <a:spcAft>
          <a:spcPts val="605"/>
        </a:spcAft>
        <a:buClr>
          <a:schemeClr val="accent4"/>
        </a:buClr>
        <a:buFont typeface="+mj-lt"/>
        <a:buAutoNum type="arabicPeriod"/>
        <a:defRPr sz="1452" kern="1200">
          <a:solidFill>
            <a:schemeClr val="tx1"/>
          </a:solidFill>
          <a:latin typeface="+mn-lt"/>
          <a:ea typeface="+mn-ea"/>
          <a:cs typeface="+mn-cs"/>
        </a:defRPr>
      </a:lvl7pPr>
      <a:lvl8pPr marL="3111418" indent="-207428" algn="l" defTabSz="829711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526274" indent="-207428" algn="l" defTabSz="829711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81" userDrawn="1">
          <p15:clr>
            <a:srgbClr val="F26B43"/>
          </p15:clr>
        </p15:guide>
        <p15:guide id="3" pos="7656" userDrawn="1">
          <p15:clr>
            <a:srgbClr val="F26B43"/>
          </p15:clr>
        </p15:guide>
        <p15:guide id="6" orient="horz" pos="877" userDrawn="1">
          <p15:clr>
            <a:srgbClr val="F26B43"/>
          </p15:clr>
        </p15:guide>
        <p15:guide id="17" orient="horz" pos="3568" userDrawn="1">
          <p15:clr>
            <a:srgbClr val="F26B43"/>
          </p15:clr>
        </p15:guide>
        <p15:guide id="18" orient="horz" pos="2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543662-5624-43A6-BF98-76281094AE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Colors</a:t>
            </a:r>
            <a:endParaRPr lang="en-GB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44CF480-E9E6-4D50-9230-42D1BCE5C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5083BA-C3A3-44DE-8013-B327545B3D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C5C5CB7-F2FB-4271-AA62-81BB0F85197C}"/>
              </a:ext>
            </a:extLst>
          </p:cNvPr>
          <p:cNvSpPr/>
          <p:nvPr/>
        </p:nvSpPr>
        <p:spPr>
          <a:xfrm>
            <a:off x="6153144" y="1392496"/>
            <a:ext cx="1155050" cy="1088889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22" tIns="174222" rIns="174222" bIns="1742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400" dirty="0"/>
              <a:t>#333333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D6B2F1F-1433-4461-A575-0FB203C2E787}"/>
              </a:ext>
            </a:extLst>
          </p:cNvPr>
          <p:cNvSpPr/>
          <p:nvPr/>
        </p:nvSpPr>
        <p:spPr>
          <a:xfrm>
            <a:off x="9035694" y="1392496"/>
            <a:ext cx="1155050" cy="1088889"/>
          </a:xfrm>
          <a:prstGeom prst="rect">
            <a:avLst/>
          </a:prstGeom>
          <a:solidFill>
            <a:srgbClr val="8C8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22" tIns="174222" rIns="174222" bIns="1742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#8C8C8C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5E7010F-7E91-4441-9DB2-B5384D358BAC}"/>
              </a:ext>
            </a:extLst>
          </p:cNvPr>
          <p:cNvSpPr/>
          <p:nvPr/>
        </p:nvSpPr>
        <p:spPr>
          <a:xfrm>
            <a:off x="10476970" y="1392496"/>
            <a:ext cx="1155050" cy="1088889"/>
          </a:xfrm>
          <a:prstGeom prst="rect">
            <a:avLst/>
          </a:prstGeom>
          <a:solidFill>
            <a:srgbClr val="B2B2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22" tIns="174222" rIns="174222" bIns="1742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#B2B2B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5503EF-4762-42EF-A1A5-4281B105C3C8}"/>
              </a:ext>
            </a:extLst>
          </p:cNvPr>
          <p:cNvSpPr/>
          <p:nvPr/>
        </p:nvSpPr>
        <p:spPr>
          <a:xfrm>
            <a:off x="7594419" y="1392496"/>
            <a:ext cx="1155050" cy="1088889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22" tIns="174222" rIns="174222" bIns="1742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400" dirty="0"/>
              <a:t>#666666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B9832D0-D8DD-4BF6-B73B-9AD34FEAA860}"/>
              </a:ext>
            </a:extLst>
          </p:cNvPr>
          <p:cNvSpPr/>
          <p:nvPr/>
        </p:nvSpPr>
        <p:spPr>
          <a:xfrm>
            <a:off x="6153144" y="2881914"/>
            <a:ext cx="1155050" cy="1088889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22" tIns="174222" rIns="174222" bIns="1742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#CCCCCC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E1F449A-8245-48A2-8383-2C8264D4A3B0}"/>
              </a:ext>
            </a:extLst>
          </p:cNvPr>
          <p:cNvSpPr/>
          <p:nvPr/>
        </p:nvSpPr>
        <p:spPr>
          <a:xfrm>
            <a:off x="9035694" y="2881914"/>
            <a:ext cx="1155050" cy="1088889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22" tIns="174222" rIns="174222" bIns="1742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#EBEBEB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6083F3-43E2-478D-A448-097888450987}"/>
              </a:ext>
            </a:extLst>
          </p:cNvPr>
          <p:cNvSpPr/>
          <p:nvPr/>
        </p:nvSpPr>
        <p:spPr>
          <a:xfrm>
            <a:off x="10476970" y="2881914"/>
            <a:ext cx="1155050" cy="108888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22" tIns="174222" rIns="174222" bIns="1742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#F2F2F2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5A15BBC-D436-435B-B49E-2C303AA31D70}"/>
              </a:ext>
            </a:extLst>
          </p:cNvPr>
          <p:cNvSpPr/>
          <p:nvPr/>
        </p:nvSpPr>
        <p:spPr>
          <a:xfrm>
            <a:off x="7594419" y="2881914"/>
            <a:ext cx="1155050" cy="108888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22" tIns="174222" rIns="174222" bIns="1742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#E6E6E6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A019A52-91C2-43AD-9C9F-A8FDEF51FB4E}"/>
              </a:ext>
            </a:extLst>
          </p:cNvPr>
          <p:cNvSpPr/>
          <p:nvPr/>
        </p:nvSpPr>
        <p:spPr>
          <a:xfrm>
            <a:off x="477508" y="1392496"/>
            <a:ext cx="1548067" cy="1088889"/>
          </a:xfrm>
          <a:prstGeom prst="rect">
            <a:avLst/>
          </a:prstGeom>
          <a:solidFill>
            <a:srgbClr val="00CE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22" tIns="174222" rIns="174222" bIns="1742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452" dirty="0">
                <a:solidFill>
                  <a:schemeClr val="tx1"/>
                </a:solidFill>
              </a:rPr>
              <a:t>#</a:t>
            </a:r>
            <a:r>
              <a:rPr lang="pt-BR" sz="1600" dirty="0"/>
              <a:t>00CED1</a:t>
            </a:r>
            <a:endParaRPr lang="en-GB" sz="1452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6B02D86-916C-4FBC-BD47-61B4D6280CE4}"/>
              </a:ext>
            </a:extLst>
          </p:cNvPr>
          <p:cNvSpPr/>
          <p:nvPr/>
        </p:nvSpPr>
        <p:spPr>
          <a:xfrm>
            <a:off x="479428" y="2881914"/>
            <a:ext cx="1548067" cy="1088889"/>
          </a:xfrm>
          <a:prstGeom prst="rect">
            <a:avLst/>
          </a:prstGeom>
          <a:solidFill>
            <a:srgbClr val="00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22" tIns="174222" rIns="174222" bIns="1742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52" dirty="0">
                <a:solidFill>
                  <a:schemeClr val="tx1"/>
                </a:solidFill>
              </a:rPr>
              <a:t>#</a:t>
            </a:r>
            <a:r>
              <a:rPr lang="pt-BR" sz="1600" dirty="0"/>
              <a:t>00FFFF</a:t>
            </a:r>
            <a:endParaRPr lang="en-GB" sz="1452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CD6EFBC-81E8-406F-AC47-80196C5C139B}"/>
              </a:ext>
            </a:extLst>
          </p:cNvPr>
          <p:cNvSpPr/>
          <p:nvPr/>
        </p:nvSpPr>
        <p:spPr>
          <a:xfrm>
            <a:off x="2227247" y="2881914"/>
            <a:ext cx="1548067" cy="108888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22" tIns="174222" rIns="174222" bIns="1742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52" dirty="0"/>
              <a:t>#000000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67B35F8-574A-4F4C-B5DF-6526A7C5FE1C}"/>
              </a:ext>
            </a:extLst>
          </p:cNvPr>
          <p:cNvSpPr/>
          <p:nvPr/>
        </p:nvSpPr>
        <p:spPr>
          <a:xfrm>
            <a:off x="3969303" y="2881914"/>
            <a:ext cx="1548067" cy="1088889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22" tIns="174222" rIns="174222" bIns="1742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 algn="ctr"/>
            <a:r>
              <a:rPr lang="en-GB" sz="1452" dirty="0">
                <a:solidFill>
                  <a:schemeClr val="tx1"/>
                </a:solidFill>
              </a:rPr>
              <a:t>#</a:t>
            </a:r>
            <a:r>
              <a:rPr lang="pt-BR" sz="1600" dirty="0"/>
              <a:t> C0C0C0</a:t>
            </a:r>
            <a:endParaRPr lang="en-GB" sz="1452" dirty="0">
              <a:solidFill>
                <a:schemeClr val="tx1"/>
              </a:solidFill>
            </a:endParaRPr>
          </a:p>
        </p:txBody>
      </p:sp>
      <p:sp>
        <p:nvSpPr>
          <p:cNvPr id="5" name="Rectangle 34">
            <a:extLst>
              <a:ext uri="{FF2B5EF4-FFF2-40B4-BE49-F238E27FC236}">
                <a16:creationId xmlns:a16="http://schemas.microsoft.com/office/drawing/2014/main" id="{CA0FF4CE-0AFC-48A7-B8FD-7F01B26EAD22}"/>
              </a:ext>
            </a:extLst>
          </p:cNvPr>
          <p:cNvSpPr/>
          <p:nvPr/>
        </p:nvSpPr>
        <p:spPr>
          <a:xfrm>
            <a:off x="479426" y="4371331"/>
            <a:ext cx="1096153" cy="958222"/>
          </a:xfrm>
          <a:prstGeom prst="rect">
            <a:avLst/>
          </a:prstGeom>
          <a:solidFill>
            <a:srgbClr val="8A2B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22" tIns="174222" rIns="174222" bIns="1742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400">
                <a:solidFill>
                  <a:schemeClr val="tx1"/>
                </a:solidFill>
              </a:rPr>
              <a:t>#</a:t>
            </a:r>
            <a:r>
              <a:rPr lang="pt-BR" sz="1400"/>
              <a:t> 8A2BE2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8" name="Rectangle 37">
            <a:extLst>
              <a:ext uri="{FF2B5EF4-FFF2-40B4-BE49-F238E27FC236}">
                <a16:creationId xmlns:a16="http://schemas.microsoft.com/office/drawing/2014/main" id="{094ECEE5-0970-4798-A04D-A61A7436624C}"/>
              </a:ext>
            </a:extLst>
          </p:cNvPr>
          <p:cNvSpPr/>
          <p:nvPr/>
        </p:nvSpPr>
        <p:spPr>
          <a:xfrm>
            <a:off x="3107286" y="4371331"/>
            <a:ext cx="1096153" cy="958222"/>
          </a:xfrm>
          <a:prstGeom prst="rect">
            <a:avLst/>
          </a:prstGeom>
          <a:solidFill>
            <a:srgbClr val="FFF0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22" tIns="174222" rIns="174222" bIns="1742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400" dirty="0">
                <a:solidFill>
                  <a:schemeClr val="tx1"/>
                </a:solidFill>
              </a:rPr>
              <a:t>#FFF0B2</a:t>
            </a:r>
          </a:p>
        </p:txBody>
      </p:sp>
      <p:sp>
        <p:nvSpPr>
          <p:cNvPr id="15" name="TextBox 38">
            <a:extLst>
              <a:ext uri="{FF2B5EF4-FFF2-40B4-BE49-F238E27FC236}">
                <a16:creationId xmlns:a16="http://schemas.microsoft.com/office/drawing/2014/main" id="{350D8098-F8DB-49EA-A33D-7C966ACD023A}"/>
              </a:ext>
            </a:extLst>
          </p:cNvPr>
          <p:cNvSpPr txBox="1"/>
          <p:nvPr/>
        </p:nvSpPr>
        <p:spPr>
          <a:xfrm>
            <a:off x="479426" y="5329554"/>
            <a:ext cx="1096153" cy="322722"/>
          </a:xfrm>
          <a:prstGeom prst="rect">
            <a:avLst/>
          </a:prstGeom>
          <a:noFill/>
        </p:spPr>
        <p:txBody>
          <a:bodyPr wrap="square" lIns="0" tIns="21778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5"/>
              </a:spcAft>
            </a:pPr>
            <a:r>
              <a:rPr lang="en-GB" sz="968" b="1" dirty="0" err="1"/>
              <a:t>Postyellow</a:t>
            </a:r>
            <a:r>
              <a:rPr lang="en-GB" sz="968" b="1" dirty="0"/>
              <a:t> 70%</a:t>
            </a:r>
            <a:br>
              <a:rPr lang="en-GB" sz="968" b="1" dirty="0"/>
            </a:br>
            <a:r>
              <a:rPr lang="en-GB" sz="968" dirty="0"/>
              <a:t>255/219/76</a:t>
            </a:r>
          </a:p>
        </p:txBody>
      </p:sp>
      <p:sp>
        <p:nvSpPr>
          <p:cNvPr id="23" name="Rectangle 39">
            <a:extLst>
              <a:ext uri="{FF2B5EF4-FFF2-40B4-BE49-F238E27FC236}">
                <a16:creationId xmlns:a16="http://schemas.microsoft.com/office/drawing/2014/main" id="{72A4E266-7699-4A37-B315-A2D05754D58D}"/>
              </a:ext>
            </a:extLst>
          </p:cNvPr>
          <p:cNvSpPr/>
          <p:nvPr/>
        </p:nvSpPr>
        <p:spPr>
          <a:xfrm>
            <a:off x="1793355" y="4371331"/>
            <a:ext cx="1096153" cy="958222"/>
          </a:xfrm>
          <a:prstGeom prst="rect">
            <a:avLst/>
          </a:prstGeom>
          <a:solidFill>
            <a:srgbClr val="39F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22" tIns="174222" rIns="174222" bIns="1742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400" dirty="0">
                <a:solidFill>
                  <a:schemeClr val="tx1"/>
                </a:solidFill>
              </a:rPr>
              <a:t># </a:t>
            </a:r>
            <a:r>
              <a:rPr lang="pt-BR" sz="1400" dirty="0"/>
              <a:t>39FF14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24" name="TextBox 40">
            <a:extLst>
              <a:ext uri="{FF2B5EF4-FFF2-40B4-BE49-F238E27FC236}">
                <a16:creationId xmlns:a16="http://schemas.microsoft.com/office/drawing/2014/main" id="{0B2149D2-E694-4133-AD8A-1BF0C6F57ABE}"/>
              </a:ext>
            </a:extLst>
          </p:cNvPr>
          <p:cNvSpPr txBox="1"/>
          <p:nvPr/>
        </p:nvSpPr>
        <p:spPr>
          <a:xfrm>
            <a:off x="1793357" y="5329554"/>
            <a:ext cx="1096153" cy="322722"/>
          </a:xfrm>
          <a:prstGeom prst="rect">
            <a:avLst/>
          </a:prstGeom>
          <a:noFill/>
        </p:spPr>
        <p:txBody>
          <a:bodyPr wrap="square" lIns="0" tIns="21778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5"/>
              </a:spcAft>
            </a:pPr>
            <a:r>
              <a:rPr lang="en-GB" sz="968" b="1" dirty="0" err="1"/>
              <a:t>Postyellow</a:t>
            </a:r>
            <a:r>
              <a:rPr lang="en-GB" sz="968" b="1" dirty="0"/>
              <a:t> 50%</a:t>
            </a:r>
            <a:br>
              <a:rPr lang="en-GB" sz="968" b="1" dirty="0"/>
            </a:br>
            <a:r>
              <a:rPr lang="en-GB" sz="968" dirty="0"/>
              <a:t>255/229/127</a:t>
            </a:r>
          </a:p>
        </p:txBody>
      </p:sp>
      <p:sp>
        <p:nvSpPr>
          <p:cNvPr id="28" name="Rectangle 37">
            <a:extLst>
              <a:ext uri="{FF2B5EF4-FFF2-40B4-BE49-F238E27FC236}">
                <a16:creationId xmlns:a16="http://schemas.microsoft.com/office/drawing/2014/main" id="{2B76AE9D-ABB1-4DB8-9556-24CE55CB99F1}"/>
              </a:ext>
            </a:extLst>
          </p:cNvPr>
          <p:cNvSpPr/>
          <p:nvPr/>
        </p:nvSpPr>
        <p:spPr>
          <a:xfrm>
            <a:off x="4421216" y="4371331"/>
            <a:ext cx="1096153" cy="958222"/>
          </a:xfrm>
          <a:prstGeom prst="rect">
            <a:avLst/>
          </a:prstGeom>
          <a:solidFill>
            <a:srgbClr val="FFF5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22" tIns="174222" rIns="174222" bIns="1742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452" dirty="0">
                <a:solidFill>
                  <a:schemeClr val="tx1"/>
                </a:solidFill>
              </a:rPr>
              <a:t>#FFF5CC</a:t>
            </a:r>
          </a:p>
        </p:txBody>
      </p:sp>
      <p:sp>
        <p:nvSpPr>
          <p:cNvPr id="50" name="TextBox 40">
            <a:extLst>
              <a:ext uri="{FF2B5EF4-FFF2-40B4-BE49-F238E27FC236}">
                <a16:creationId xmlns:a16="http://schemas.microsoft.com/office/drawing/2014/main" id="{43D7B609-DEEB-4DAB-ACBB-E644858858DA}"/>
              </a:ext>
            </a:extLst>
          </p:cNvPr>
          <p:cNvSpPr txBox="1"/>
          <p:nvPr/>
        </p:nvSpPr>
        <p:spPr>
          <a:xfrm>
            <a:off x="3107286" y="5329554"/>
            <a:ext cx="1096153" cy="322722"/>
          </a:xfrm>
          <a:prstGeom prst="rect">
            <a:avLst/>
          </a:prstGeom>
          <a:noFill/>
        </p:spPr>
        <p:txBody>
          <a:bodyPr wrap="square" lIns="0" tIns="21778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5"/>
              </a:spcAft>
            </a:pPr>
            <a:r>
              <a:rPr lang="en-GB" sz="968" b="1" dirty="0" err="1"/>
              <a:t>Postyellow</a:t>
            </a:r>
            <a:r>
              <a:rPr lang="en-GB" sz="968" b="1" dirty="0"/>
              <a:t> 30%</a:t>
            </a:r>
            <a:br>
              <a:rPr lang="en-GB" sz="968" b="1" dirty="0"/>
            </a:br>
            <a:r>
              <a:rPr lang="en-GB" sz="968" dirty="0"/>
              <a:t>255/240/178</a:t>
            </a:r>
          </a:p>
        </p:txBody>
      </p:sp>
      <p:sp>
        <p:nvSpPr>
          <p:cNvPr id="52" name="TextBox 40">
            <a:extLst>
              <a:ext uri="{FF2B5EF4-FFF2-40B4-BE49-F238E27FC236}">
                <a16:creationId xmlns:a16="http://schemas.microsoft.com/office/drawing/2014/main" id="{5810A9A3-023E-4383-BA14-31EC81424710}"/>
              </a:ext>
            </a:extLst>
          </p:cNvPr>
          <p:cNvSpPr txBox="1"/>
          <p:nvPr/>
        </p:nvSpPr>
        <p:spPr>
          <a:xfrm>
            <a:off x="4428898" y="5329554"/>
            <a:ext cx="1096153" cy="322722"/>
          </a:xfrm>
          <a:prstGeom prst="rect">
            <a:avLst/>
          </a:prstGeom>
          <a:noFill/>
        </p:spPr>
        <p:txBody>
          <a:bodyPr wrap="square" lIns="0" tIns="21778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5"/>
              </a:spcAft>
            </a:pPr>
            <a:r>
              <a:rPr lang="en-GB" sz="968" b="1" dirty="0" err="1"/>
              <a:t>Postyellow</a:t>
            </a:r>
            <a:r>
              <a:rPr lang="en-GB" sz="968" b="1" dirty="0"/>
              <a:t> 20%</a:t>
            </a:r>
            <a:br>
              <a:rPr lang="en-GB" sz="968" b="1" dirty="0"/>
            </a:br>
            <a:r>
              <a:rPr lang="en-GB" sz="968" dirty="0"/>
              <a:t>255/245/204</a:t>
            </a:r>
          </a:p>
        </p:txBody>
      </p:sp>
      <p:sp>
        <p:nvSpPr>
          <p:cNvPr id="54" name="TextBox 20">
            <a:extLst>
              <a:ext uri="{FF2B5EF4-FFF2-40B4-BE49-F238E27FC236}">
                <a16:creationId xmlns:a16="http://schemas.microsoft.com/office/drawing/2014/main" id="{715B008A-F020-4741-BD55-A818160BE767}"/>
              </a:ext>
            </a:extLst>
          </p:cNvPr>
          <p:cNvSpPr txBox="1"/>
          <p:nvPr/>
        </p:nvSpPr>
        <p:spPr>
          <a:xfrm>
            <a:off x="477508" y="2481382"/>
            <a:ext cx="1548067" cy="322722"/>
          </a:xfrm>
          <a:prstGeom prst="rect">
            <a:avLst/>
          </a:prstGeom>
          <a:noFill/>
        </p:spPr>
        <p:txBody>
          <a:bodyPr wrap="square" lIns="0" tIns="21778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5"/>
              </a:spcAft>
            </a:pPr>
            <a:r>
              <a:rPr lang="en-GB" sz="968" b="1" dirty="0" err="1"/>
              <a:t>Postyellow</a:t>
            </a:r>
            <a:br>
              <a:rPr lang="en-GB" sz="968" dirty="0"/>
            </a:br>
            <a:r>
              <a:rPr lang="is-IS" sz="968" dirty="0"/>
              <a:t>255/204/0</a:t>
            </a:r>
            <a:endParaRPr lang="en-GB" sz="968" dirty="0"/>
          </a:p>
        </p:txBody>
      </p:sp>
      <p:sp>
        <p:nvSpPr>
          <p:cNvPr id="56" name="TextBox 21">
            <a:extLst>
              <a:ext uri="{FF2B5EF4-FFF2-40B4-BE49-F238E27FC236}">
                <a16:creationId xmlns:a16="http://schemas.microsoft.com/office/drawing/2014/main" id="{68384636-6FD5-441E-833E-C9C70573634D}"/>
              </a:ext>
            </a:extLst>
          </p:cNvPr>
          <p:cNvSpPr txBox="1"/>
          <p:nvPr/>
        </p:nvSpPr>
        <p:spPr>
          <a:xfrm>
            <a:off x="2225327" y="2481382"/>
            <a:ext cx="1548067" cy="322722"/>
          </a:xfrm>
          <a:prstGeom prst="rect">
            <a:avLst/>
          </a:prstGeom>
          <a:noFill/>
        </p:spPr>
        <p:txBody>
          <a:bodyPr wrap="square" lIns="0" tIns="21778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5"/>
              </a:spcAft>
            </a:pPr>
            <a:r>
              <a:rPr lang="en-GB" sz="968" b="1" dirty="0"/>
              <a:t>Full-Format Gradient</a:t>
            </a:r>
            <a:endParaRPr lang="en-GB" sz="968" dirty="0"/>
          </a:p>
        </p:txBody>
      </p:sp>
      <p:sp>
        <p:nvSpPr>
          <p:cNvPr id="58" name="TextBox 24">
            <a:extLst>
              <a:ext uri="{FF2B5EF4-FFF2-40B4-BE49-F238E27FC236}">
                <a16:creationId xmlns:a16="http://schemas.microsoft.com/office/drawing/2014/main" id="{8F975115-B568-4EE2-AA19-858A999EE733}"/>
              </a:ext>
            </a:extLst>
          </p:cNvPr>
          <p:cNvSpPr txBox="1"/>
          <p:nvPr/>
        </p:nvSpPr>
        <p:spPr>
          <a:xfrm>
            <a:off x="479428" y="3970801"/>
            <a:ext cx="1548067" cy="322722"/>
          </a:xfrm>
          <a:prstGeom prst="rect">
            <a:avLst/>
          </a:prstGeom>
          <a:noFill/>
        </p:spPr>
        <p:txBody>
          <a:bodyPr wrap="square" lIns="0" tIns="21778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5"/>
              </a:spcAft>
            </a:pPr>
            <a:r>
              <a:rPr lang="en-GB" sz="968" b="1" dirty="0"/>
              <a:t>DHL Red</a:t>
            </a:r>
            <a:br>
              <a:rPr lang="en-GB" sz="968" b="1" dirty="0"/>
            </a:br>
            <a:r>
              <a:rPr lang="is-IS" sz="968" dirty="0"/>
              <a:t>212/5/17</a:t>
            </a:r>
            <a:endParaRPr lang="en-GB" sz="968" dirty="0"/>
          </a:p>
        </p:txBody>
      </p:sp>
      <p:sp>
        <p:nvSpPr>
          <p:cNvPr id="60" name="TextBox 25">
            <a:extLst>
              <a:ext uri="{FF2B5EF4-FFF2-40B4-BE49-F238E27FC236}">
                <a16:creationId xmlns:a16="http://schemas.microsoft.com/office/drawing/2014/main" id="{6E73DF90-E4CC-4A0F-96FE-E140C400A813}"/>
              </a:ext>
            </a:extLst>
          </p:cNvPr>
          <p:cNvSpPr txBox="1"/>
          <p:nvPr/>
        </p:nvSpPr>
        <p:spPr>
          <a:xfrm>
            <a:off x="2227247" y="3970801"/>
            <a:ext cx="1548067" cy="322722"/>
          </a:xfrm>
          <a:prstGeom prst="rect">
            <a:avLst/>
          </a:prstGeom>
          <a:noFill/>
        </p:spPr>
        <p:txBody>
          <a:bodyPr wrap="square" lIns="0" tIns="21778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5"/>
              </a:spcAft>
            </a:pPr>
            <a:r>
              <a:rPr lang="en-GB" sz="968" b="1" dirty="0"/>
              <a:t>Black</a:t>
            </a:r>
            <a:br>
              <a:rPr lang="en-GB" sz="968" b="1" dirty="0"/>
            </a:br>
            <a:r>
              <a:rPr lang="en-GB" sz="968" dirty="0"/>
              <a:t>0/0/0</a:t>
            </a:r>
          </a:p>
        </p:txBody>
      </p:sp>
      <p:sp>
        <p:nvSpPr>
          <p:cNvPr id="62" name="TextBox 26">
            <a:extLst>
              <a:ext uri="{FF2B5EF4-FFF2-40B4-BE49-F238E27FC236}">
                <a16:creationId xmlns:a16="http://schemas.microsoft.com/office/drawing/2014/main" id="{2992A816-BF7F-403A-91C9-EE9874AFEA5D}"/>
              </a:ext>
            </a:extLst>
          </p:cNvPr>
          <p:cNvSpPr txBox="1"/>
          <p:nvPr/>
        </p:nvSpPr>
        <p:spPr>
          <a:xfrm>
            <a:off x="3969303" y="3970801"/>
            <a:ext cx="1548067" cy="322722"/>
          </a:xfrm>
          <a:prstGeom prst="rect">
            <a:avLst/>
          </a:prstGeom>
          <a:noFill/>
        </p:spPr>
        <p:txBody>
          <a:bodyPr wrap="square" lIns="0" tIns="21778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5"/>
              </a:spcAft>
            </a:pPr>
            <a:r>
              <a:rPr lang="en-GB" sz="968" b="1" dirty="0"/>
              <a:t>Dark Green</a:t>
            </a:r>
            <a:br>
              <a:rPr lang="en-GB" sz="968" b="1" dirty="0"/>
            </a:br>
            <a:r>
              <a:rPr lang="en-GB" sz="968" dirty="0"/>
              <a:t>0/127/57</a:t>
            </a:r>
          </a:p>
        </p:txBody>
      </p:sp>
      <p:sp>
        <p:nvSpPr>
          <p:cNvPr id="64" name="TextBox 28">
            <a:extLst>
              <a:ext uri="{FF2B5EF4-FFF2-40B4-BE49-F238E27FC236}">
                <a16:creationId xmlns:a16="http://schemas.microsoft.com/office/drawing/2014/main" id="{4E11FD4C-553E-449B-BCF4-CEA31E287BE7}"/>
              </a:ext>
            </a:extLst>
          </p:cNvPr>
          <p:cNvSpPr txBox="1"/>
          <p:nvPr/>
        </p:nvSpPr>
        <p:spPr>
          <a:xfrm>
            <a:off x="6153144" y="2481382"/>
            <a:ext cx="1155050" cy="322722"/>
          </a:xfrm>
          <a:prstGeom prst="rect">
            <a:avLst/>
          </a:prstGeom>
          <a:noFill/>
        </p:spPr>
        <p:txBody>
          <a:bodyPr wrap="square" lIns="0" tIns="21778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5"/>
              </a:spcAft>
            </a:pPr>
            <a:r>
              <a:rPr lang="en-GB" sz="968" b="1" dirty="0" err="1"/>
              <a:t>Gray</a:t>
            </a:r>
            <a:r>
              <a:rPr lang="en-GB" sz="968" b="1" dirty="0"/>
              <a:t> 80</a:t>
            </a:r>
            <a:br>
              <a:rPr lang="en-GB" sz="968" b="1" dirty="0"/>
            </a:br>
            <a:r>
              <a:rPr lang="en-GB" sz="968" dirty="0"/>
              <a:t>51/51/51</a:t>
            </a:r>
          </a:p>
        </p:txBody>
      </p:sp>
      <p:sp>
        <p:nvSpPr>
          <p:cNvPr id="66" name="TextBox 29">
            <a:extLst>
              <a:ext uri="{FF2B5EF4-FFF2-40B4-BE49-F238E27FC236}">
                <a16:creationId xmlns:a16="http://schemas.microsoft.com/office/drawing/2014/main" id="{F347023B-D2C6-4860-B4BC-2DE3C24BB5AA}"/>
              </a:ext>
            </a:extLst>
          </p:cNvPr>
          <p:cNvSpPr txBox="1"/>
          <p:nvPr/>
        </p:nvSpPr>
        <p:spPr>
          <a:xfrm>
            <a:off x="7594419" y="2481382"/>
            <a:ext cx="1155049" cy="322722"/>
          </a:xfrm>
          <a:prstGeom prst="rect">
            <a:avLst/>
          </a:prstGeom>
          <a:noFill/>
        </p:spPr>
        <p:txBody>
          <a:bodyPr wrap="square" lIns="0" tIns="21778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5"/>
              </a:spcAft>
            </a:pPr>
            <a:r>
              <a:rPr lang="en-GB" sz="968" b="1" dirty="0" err="1"/>
              <a:t>Gray</a:t>
            </a:r>
            <a:r>
              <a:rPr lang="en-GB" sz="968" b="1" dirty="0"/>
              <a:t> 60</a:t>
            </a:r>
            <a:br>
              <a:rPr lang="en-GB" sz="968" b="1" dirty="0"/>
            </a:br>
            <a:r>
              <a:rPr lang="en-GB" sz="968" dirty="0"/>
              <a:t> 102/102/102</a:t>
            </a:r>
          </a:p>
        </p:txBody>
      </p:sp>
      <p:sp>
        <p:nvSpPr>
          <p:cNvPr id="68" name="TextBox 30">
            <a:extLst>
              <a:ext uri="{FF2B5EF4-FFF2-40B4-BE49-F238E27FC236}">
                <a16:creationId xmlns:a16="http://schemas.microsoft.com/office/drawing/2014/main" id="{CEF8A1E1-6C39-478C-BE3B-3E4A74E2E7F7}"/>
              </a:ext>
            </a:extLst>
          </p:cNvPr>
          <p:cNvSpPr txBox="1"/>
          <p:nvPr/>
        </p:nvSpPr>
        <p:spPr>
          <a:xfrm>
            <a:off x="9035693" y="2481382"/>
            <a:ext cx="1155051" cy="322722"/>
          </a:xfrm>
          <a:prstGeom prst="rect">
            <a:avLst/>
          </a:prstGeom>
          <a:noFill/>
        </p:spPr>
        <p:txBody>
          <a:bodyPr wrap="square" lIns="0" tIns="21778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5"/>
              </a:spcAft>
            </a:pPr>
            <a:r>
              <a:rPr lang="en-GB" sz="968" b="1" dirty="0" err="1"/>
              <a:t>Gray</a:t>
            </a:r>
            <a:r>
              <a:rPr lang="en-GB" sz="968" b="1" dirty="0"/>
              <a:t> 45</a:t>
            </a:r>
            <a:br>
              <a:rPr lang="en-GB" sz="968" b="1" dirty="0"/>
            </a:br>
            <a:r>
              <a:rPr lang="en-GB" sz="968" dirty="0"/>
              <a:t>140/140/140</a:t>
            </a:r>
          </a:p>
        </p:txBody>
      </p:sp>
      <p:sp>
        <p:nvSpPr>
          <p:cNvPr id="70" name="TextBox 31">
            <a:extLst>
              <a:ext uri="{FF2B5EF4-FFF2-40B4-BE49-F238E27FC236}">
                <a16:creationId xmlns:a16="http://schemas.microsoft.com/office/drawing/2014/main" id="{0716CE44-E98A-48BA-A957-CC26BFD19366}"/>
              </a:ext>
            </a:extLst>
          </p:cNvPr>
          <p:cNvSpPr txBox="1"/>
          <p:nvPr/>
        </p:nvSpPr>
        <p:spPr>
          <a:xfrm>
            <a:off x="6155063" y="3970801"/>
            <a:ext cx="1152746" cy="322722"/>
          </a:xfrm>
          <a:prstGeom prst="rect">
            <a:avLst/>
          </a:prstGeom>
          <a:noFill/>
        </p:spPr>
        <p:txBody>
          <a:bodyPr wrap="square" lIns="0" tIns="21778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5"/>
              </a:spcAft>
            </a:pPr>
            <a:r>
              <a:rPr lang="en-GB" sz="968" b="1" dirty="0" err="1"/>
              <a:t>Gray</a:t>
            </a:r>
            <a:r>
              <a:rPr lang="en-GB" sz="968" b="1" dirty="0"/>
              <a:t> 20</a:t>
            </a:r>
            <a:br>
              <a:rPr lang="en-GB" sz="968" b="1" dirty="0"/>
            </a:br>
            <a:r>
              <a:rPr lang="en-GB" sz="968" dirty="0"/>
              <a:t>204/204/204</a:t>
            </a:r>
          </a:p>
        </p:txBody>
      </p:sp>
      <p:sp>
        <p:nvSpPr>
          <p:cNvPr id="72" name="TextBox 32">
            <a:extLst>
              <a:ext uri="{FF2B5EF4-FFF2-40B4-BE49-F238E27FC236}">
                <a16:creationId xmlns:a16="http://schemas.microsoft.com/office/drawing/2014/main" id="{469AD5AD-9931-4D65-9AF8-B3294F244586}"/>
              </a:ext>
            </a:extLst>
          </p:cNvPr>
          <p:cNvSpPr txBox="1"/>
          <p:nvPr/>
        </p:nvSpPr>
        <p:spPr>
          <a:xfrm>
            <a:off x="7594163" y="3970801"/>
            <a:ext cx="1155050" cy="322722"/>
          </a:xfrm>
          <a:prstGeom prst="rect">
            <a:avLst/>
          </a:prstGeom>
          <a:noFill/>
        </p:spPr>
        <p:txBody>
          <a:bodyPr wrap="square" lIns="0" tIns="21778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5"/>
              </a:spcAft>
            </a:pPr>
            <a:r>
              <a:rPr lang="en-GB" sz="968" b="1" dirty="0" err="1"/>
              <a:t>Gray</a:t>
            </a:r>
            <a:r>
              <a:rPr lang="en-GB" sz="968" b="1" dirty="0"/>
              <a:t> 10</a:t>
            </a:r>
            <a:br>
              <a:rPr lang="en-GB" sz="968" b="1" dirty="0"/>
            </a:br>
            <a:r>
              <a:rPr lang="en-GB" sz="968" dirty="0"/>
              <a:t>230/230/230</a:t>
            </a:r>
          </a:p>
        </p:txBody>
      </p:sp>
      <p:sp>
        <p:nvSpPr>
          <p:cNvPr id="74" name="TextBox 33">
            <a:extLst>
              <a:ext uri="{FF2B5EF4-FFF2-40B4-BE49-F238E27FC236}">
                <a16:creationId xmlns:a16="http://schemas.microsoft.com/office/drawing/2014/main" id="{54EAD54D-8237-49BD-BC77-C73D63FB05BB}"/>
              </a:ext>
            </a:extLst>
          </p:cNvPr>
          <p:cNvSpPr txBox="1"/>
          <p:nvPr/>
        </p:nvSpPr>
        <p:spPr>
          <a:xfrm>
            <a:off x="9035567" y="3970801"/>
            <a:ext cx="1155050" cy="322722"/>
          </a:xfrm>
          <a:prstGeom prst="rect">
            <a:avLst/>
          </a:prstGeom>
          <a:noFill/>
        </p:spPr>
        <p:txBody>
          <a:bodyPr wrap="square" lIns="0" tIns="21778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5"/>
              </a:spcAft>
            </a:pPr>
            <a:r>
              <a:rPr lang="en-GB" sz="968" b="1" dirty="0" err="1"/>
              <a:t>Gray</a:t>
            </a:r>
            <a:r>
              <a:rPr lang="en-GB" sz="968" b="1" dirty="0"/>
              <a:t> 08</a:t>
            </a:r>
            <a:br>
              <a:rPr lang="en-GB" sz="968" b="1" dirty="0"/>
            </a:br>
            <a:r>
              <a:rPr lang="en-GB" sz="968" dirty="0"/>
              <a:t>235/235/235</a:t>
            </a:r>
          </a:p>
        </p:txBody>
      </p:sp>
      <p:sp>
        <p:nvSpPr>
          <p:cNvPr id="76" name="TextBox 35">
            <a:extLst>
              <a:ext uri="{FF2B5EF4-FFF2-40B4-BE49-F238E27FC236}">
                <a16:creationId xmlns:a16="http://schemas.microsoft.com/office/drawing/2014/main" id="{87D0A42E-3040-4E2F-B65C-545B9B08C651}"/>
              </a:ext>
            </a:extLst>
          </p:cNvPr>
          <p:cNvSpPr txBox="1"/>
          <p:nvPr/>
        </p:nvSpPr>
        <p:spPr>
          <a:xfrm>
            <a:off x="10476970" y="2481382"/>
            <a:ext cx="1155050" cy="322722"/>
          </a:xfrm>
          <a:prstGeom prst="rect">
            <a:avLst/>
          </a:prstGeom>
          <a:noFill/>
        </p:spPr>
        <p:txBody>
          <a:bodyPr wrap="square" lIns="0" tIns="21778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5"/>
              </a:spcAft>
            </a:pPr>
            <a:r>
              <a:rPr lang="en-GB" sz="968" b="1" dirty="0" err="1"/>
              <a:t>Gray</a:t>
            </a:r>
            <a:r>
              <a:rPr lang="en-GB" sz="968" b="1" dirty="0"/>
              <a:t> 30</a:t>
            </a:r>
            <a:br>
              <a:rPr lang="en-GB" sz="968" b="1" dirty="0"/>
            </a:br>
            <a:r>
              <a:rPr lang="en-GB" sz="968" dirty="0"/>
              <a:t>178/178/178</a:t>
            </a:r>
          </a:p>
        </p:txBody>
      </p:sp>
      <p:sp>
        <p:nvSpPr>
          <p:cNvPr id="78" name="TextBox 36">
            <a:extLst>
              <a:ext uri="{FF2B5EF4-FFF2-40B4-BE49-F238E27FC236}">
                <a16:creationId xmlns:a16="http://schemas.microsoft.com/office/drawing/2014/main" id="{DE71F7D5-1225-4D9B-84A5-72490C195CDA}"/>
              </a:ext>
            </a:extLst>
          </p:cNvPr>
          <p:cNvSpPr txBox="1"/>
          <p:nvPr/>
        </p:nvSpPr>
        <p:spPr>
          <a:xfrm>
            <a:off x="10476970" y="3970801"/>
            <a:ext cx="1155050" cy="322722"/>
          </a:xfrm>
          <a:prstGeom prst="rect">
            <a:avLst/>
          </a:prstGeom>
          <a:noFill/>
        </p:spPr>
        <p:txBody>
          <a:bodyPr wrap="square" lIns="0" tIns="21778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5"/>
              </a:spcAft>
            </a:pPr>
            <a:r>
              <a:rPr lang="en-GB" sz="968" b="1" dirty="0" err="1"/>
              <a:t>Gray</a:t>
            </a:r>
            <a:r>
              <a:rPr lang="en-GB" sz="968" b="1" dirty="0"/>
              <a:t> 05</a:t>
            </a:r>
            <a:br>
              <a:rPr lang="en-GB" sz="968" b="1" dirty="0"/>
            </a:br>
            <a:r>
              <a:rPr lang="en-GB" sz="968" dirty="0"/>
              <a:t>242/242/242</a:t>
            </a:r>
          </a:p>
        </p:txBody>
      </p:sp>
      <p:sp>
        <p:nvSpPr>
          <p:cNvPr id="21" name="Rectangle 11">
            <a:extLst>
              <a:ext uri="{FF2B5EF4-FFF2-40B4-BE49-F238E27FC236}">
                <a16:creationId xmlns:a16="http://schemas.microsoft.com/office/drawing/2014/main" id="{E97DF40C-EBD1-713C-1803-F85DFD02DE2C}"/>
              </a:ext>
            </a:extLst>
          </p:cNvPr>
          <p:cNvSpPr/>
          <p:nvPr/>
        </p:nvSpPr>
        <p:spPr>
          <a:xfrm>
            <a:off x="6152759" y="4482002"/>
            <a:ext cx="1155050" cy="1088889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22" tIns="174222" rIns="174222" bIns="1742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400" dirty="0"/>
              <a:t>#333333</a:t>
            </a:r>
          </a:p>
        </p:txBody>
      </p:sp>
    </p:spTree>
    <p:extLst>
      <p:ext uri="{BB962C8B-B14F-4D97-AF65-F5344CB8AC3E}">
        <p14:creationId xmlns:p14="http://schemas.microsoft.com/office/powerpoint/2010/main" val="10610622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DDC09a53Ko53PO9EPRg"/>
</p:tagLst>
</file>

<file path=ppt/theme/theme1.xml><?xml version="1.0" encoding="utf-8"?>
<a:theme xmlns:a="http://schemas.openxmlformats.org/drawingml/2006/main" name="DHL_Group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t">
        <a:no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Group_AIP.potx" id="{D8B597A0-CA89-4C5D-9E25-6FCCFC67980B}" vid="{FCB70069-0019-4CEB-A50F-E469B9A18B7F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7491D327F0694DACE51E311631403C" ma:contentTypeVersion="11" ma:contentTypeDescription="Create a new document." ma:contentTypeScope="" ma:versionID="e58f924d403ee0c2c3900795159eb8fb">
  <xsd:schema xmlns:xsd="http://www.w3.org/2001/XMLSchema" xmlns:xs="http://www.w3.org/2001/XMLSchema" xmlns:p="http://schemas.microsoft.com/office/2006/metadata/properties" xmlns:ns2="fd5d198e-cafa-46c2-82ff-086ea8f35c89" xmlns:ns3="36fbcbc8-09dc-4b70-8386-42e481a4604e" targetNamespace="http://schemas.microsoft.com/office/2006/metadata/properties" ma:root="true" ma:fieldsID="87209d4e943700944ebd5688e0446958" ns2:_="" ns3:_="">
    <xsd:import namespace="fd5d198e-cafa-46c2-82ff-086ea8f35c89"/>
    <xsd:import namespace="36fbcbc8-09dc-4b70-8386-42e481a4604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5d198e-cafa-46c2-82ff-086ea8f35c8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bb9e2a73-f419-4c44-99f5-cd310bbfdd7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fbcbc8-09dc-4b70-8386-42e481a4604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24fff09a-dc1d-4f0a-8a34-52cafdc70584}" ma:internalName="TaxCatchAll" ma:showField="CatchAllData" ma:web="36fbcbc8-09dc-4b70-8386-42e481a460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6fbcbc8-09dc-4b70-8386-42e481a4604e" xsi:nil="true"/>
    <lcf76f155ced4ddcb4097134ff3c332f xmlns="fd5d198e-cafa-46c2-82ff-086ea8f35c89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089DFC2A-E779-4D52-959B-C8F198690F8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6A0975E-0AE0-4020-8ACB-2EB87F66AE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5d198e-cafa-46c2-82ff-086ea8f35c89"/>
    <ds:schemaRef ds:uri="36fbcbc8-09dc-4b70-8386-42e481a460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E21F89D-7A0F-4846-BC5F-2C5823E011A5}">
  <ds:schemaRefs>
    <ds:schemaRef ds:uri="http://purl.org/dc/dcmitype/"/>
    <ds:schemaRef ds:uri="fd5d198e-cafa-46c2-82ff-086ea8f35c89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36fbcbc8-09dc-4b70-8386-42e481a4604e"/>
    <ds:schemaRef ds:uri="http://www.w3.org/XML/1998/namespace"/>
    <ds:schemaRef ds:uri="http://purl.org/dc/terms/"/>
    <ds:schemaRef ds:uri="http://purl.org/dc/elements/1.1/"/>
    <ds:schemaRef ds:uri="http://schemas.openxmlformats.org/package/2006/metadata/core-properties"/>
  </ds:schemaRefs>
</ds:datastoreItem>
</file>

<file path=docMetadata/LabelInfo.xml><?xml version="1.0" encoding="utf-8"?>
<clbl:labelList xmlns:clbl="http://schemas.microsoft.com/office/2020/mipLabelMetadata">
  <clbl:label id="{736915f3-2f02-4945-8997-f2963298db46}" enabled="1" method="Standard" siteId="{cd99fef8-1cd3-4a2a-9bdf-15531181d65e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40</TotalTime>
  <Words>116</Words>
  <Application>Microsoft Office PowerPoint</Application>
  <PresentationFormat>Personalizar</PresentationFormat>
  <Paragraphs>37</Paragraphs>
  <Slides>1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</vt:i4>
      </vt:variant>
    </vt:vector>
  </HeadingPairs>
  <TitlesOfParts>
    <vt:vector size="9" baseType="lpstr">
      <vt:lpstr>Arial</vt:lpstr>
      <vt:lpstr>Calibri</vt:lpstr>
      <vt:lpstr>Delivery</vt:lpstr>
      <vt:lpstr>Delivery Cd Black</vt:lpstr>
      <vt:lpstr>Delivery Cd Light</vt:lpstr>
      <vt:lpstr>Symbol</vt:lpstr>
      <vt:lpstr>DHL_Group</vt:lpstr>
      <vt:lpstr>think-cell Folie</vt:lpstr>
      <vt:lpstr>Colo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MPLE TITLE ONE OR TWO LINES, DELIVERY CONDENSED BLACK, 36 PT</dc:title>
  <dc:creator>Renan Fiuja Neves (DHL Supply Chain)</dc:creator>
  <cp:lastModifiedBy>Renan Fiuja Neves (DHL Supply Chain)</cp:lastModifiedBy>
  <cp:revision>8</cp:revision>
  <dcterms:created xsi:type="dcterms:W3CDTF">2024-04-24T13:16:58Z</dcterms:created>
  <dcterms:modified xsi:type="dcterms:W3CDTF">2024-08-26T11:34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7491D327F0694DACE51E311631403C</vt:lpwstr>
  </property>
  <property fmtid="{D5CDD505-2E9C-101B-9397-08002B2CF9AE}" pid="3" name="MSIP_Label_736915f3-2f02-4945-8997-f2963298db46_Enabled">
    <vt:lpwstr>true</vt:lpwstr>
  </property>
  <property fmtid="{D5CDD505-2E9C-101B-9397-08002B2CF9AE}" pid="4" name="MSIP_Label_736915f3-2f02-4945-8997-f2963298db46_SetDate">
    <vt:lpwstr>2024-04-24T13:21:22Z</vt:lpwstr>
  </property>
  <property fmtid="{D5CDD505-2E9C-101B-9397-08002B2CF9AE}" pid="5" name="MSIP_Label_736915f3-2f02-4945-8997-f2963298db46_Method">
    <vt:lpwstr>Standard</vt:lpwstr>
  </property>
  <property fmtid="{D5CDD505-2E9C-101B-9397-08002B2CF9AE}" pid="6" name="MSIP_Label_736915f3-2f02-4945-8997-f2963298db46_Name">
    <vt:lpwstr>Internal</vt:lpwstr>
  </property>
  <property fmtid="{D5CDD505-2E9C-101B-9397-08002B2CF9AE}" pid="7" name="MSIP_Label_736915f3-2f02-4945-8997-f2963298db46_SiteId">
    <vt:lpwstr>cd99fef8-1cd3-4a2a-9bdf-15531181d65e</vt:lpwstr>
  </property>
  <property fmtid="{D5CDD505-2E9C-101B-9397-08002B2CF9AE}" pid="8" name="MSIP_Label_736915f3-2f02-4945-8997-f2963298db46_ActionId">
    <vt:lpwstr>89797bbd-b4c4-40be-ad0d-e483966b0d1d</vt:lpwstr>
  </property>
  <property fmtid="{D5CDD505-2E9C-101B-9397-08002B2CF9AE}" pid="9" name="MSIP_Label_736915f3-2f02-4945-8997-f2963298db46_ContentBits">
    <vt:lpwstr>1</vt:lpwstr>
  </property>
  <property fmtid="{D5CDD505-2E9C-101B-9397-08002B2CF9AE}" pid="10" name="ClassificationContentMarkingHeaderLocations">
    <vt:lpwstr>DHL_Group:5</vt:lpwstr>
  </property>
  <property fmtid="{D5CDD505-2E9C-101B-9397-08002B2CF9AE}" pid="11" name="ClassificationContentMarkingHeaderText">
    <vt:lpwstr>FOR INTERNAL USE</vt:lpwstr>
  </property>
</Properties>
</file>